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6.xml" ContentType="application/vnd.openxmlformats-officedocument.presentationml.notesSlide+xml"/>
  <Override PartName="/ppt/tags/tag1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2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42"/>
  </p:notesMasterIdLst>
  <p:sldIdLst>
    <p:sldId id="2145706081" r:id="rId5"/>
    <p:sldId id="2145706149" r:id="rId6"/>
    <p:sldId id="257" r:id="rId7"/>
    <p:sldId id="725" r:id="rId8"/>
    <p:sldId id="726" r:id="rId9"/>
    <p:sldId id="727" r:id="rId10"/>
    <p:sldId id="732" r:id="rId11"/>
    <p:sldId id="729" r:id="rId12"/>
    <p:sldId id="728" r:id="rId13"/>
    <p:sldId id="730" r:id="rId14"/>
    <p:sldId id="2145706150" r:id="rId15"/>
    <p:sldId id="733" r:id="rId16"/>
    <p:sldId id="734" r:id="rId17"/>
    <p:sldId id="735" r:id="rId18"/>
    <p:sldId id="731" r:id="rId19"/>
    <p:sldId id="736" r:id="rId20"/>
    <p:sldId id="740" r:id="rId21"/>
    <p:sldId id="741" r:id="rId22"/>
    <p:sldId id="742" r:id="rId23"/>
    <p:sldId id="743" r:id="rId24"/>
    <p:sldId id="744" r:id="rId25"/>
    <p:sldId id="745" r:id="rId26"/>
    <p:sldId id="746" r:id="rId27"/>
    <p:sldId id="747" r:id="rId28"/>
    <p:sldId id="748" r:id="rId29"/>
    <p:sldId id="749" r:id="rId30"/>
    <p:sldId id="2145706116" r:id="rId31"/>
    <p:sldId id="750" r:id="rId32"/>
    <p:sldId id="472" r:id="rId33"/>
    <p:sldId id="751" r:id="rId34"/>
    <p:sldId id="752" r:id="rId35"/>
    <p:sldId id="753" r:id="rId36"/>
    <p:sldId id="754" r:id="rId37"/>
    <p:sldId id="2145706152" r:id="rId38"/>
    <p:sldId id="2145706151" r:id="rId39"/>
    <p:sldId id="2145706153" r:id="rId40"/>
    <p:sldId id="2145706148" r:id="rId4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etzter, Brianna" initials="LB" lastIdx="1" clrIdx="0">
    <p:extLst>
      <p:ext uri="{19B8F6BF-5375-455C-9EA6-DF929625EA0E}">
        <p15:presenceInfo xmlns:p15="http://schemas.microsoft.com/office/powerpoint/2012/main" userId="S::Brianna.Letzter@vyaire.com::cfeb8d58-1e85-49ea-a263-8f09f59ebf7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B86ED66-E491-3657-1647-42618AC2664D}" v="1" dt="2023-10-27T11:18:10.545"/>
    <p1510:client id="{D4174C55-4D02-6C67-3D32-DB13FE192095}" v="5" dt="2023-10-02T15:05:33.02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8892" autoAdjust="0"/>
    <p:restoredTop sz="75672" autoAdjust="0"/>
  </p:normalViewPr>
  <p:slideViewPr>
    <p:cSldViewPr snapToGrid="0">
      <p:cViewPr>
        <p:scale>
          <a:sx n="47" d="100"/>
          <a:sy n="47" d="100"/>
        </p:scale>
        <p:origin x="884" y="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notesMaster" Target="notesMasters/notesMaster1.xml"/><Relationship Id="rId47" Type="http://schemas.openxmlformats.org/officeDocument/2006/relationships/tableStyles" Target="tableStyle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commentAuthors" Target="commentAuthors.xml"/><Relationship Id="rId48" Type="http://schemas.microsoft.com/office/2016/11/relationships/changesInfo" Target="changesInfos/changesInfo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theme" Target="theme/theme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aker, Jessica" userId="S::jessica.baker@vyaire.com::fa30f226-1e73-482b-9854-cd8acaf0c8dd" providerId="AD" clId="Web-{D4174C55-4D02-6C67-3D32-DB13FE192095}"/>
    <pc:docChg chg="modSld">
      <pc:chgData name="Baker, Jessica" userId="S::jessica.baker@vyaire.com::fa30f226-1e73-482b-9854-cd8acaf0c8dd" providerId="AD" clId="Web-{D4174C55-4D02-6C67-3D32-DB13FE192095}" dt="2023-10-02T15:05:33.026" v="4"/>
      <pc:docMkLst>
        <pc:docMk/>
      </pc:docMkLst>
      <pc:sldChg chg="modSp">
        <pc:chgData name="Baker, Jessica" userId="S::jessica.baker@vyaire.com::fa30f226-1e73-482b-9854-cd8acaf0c8dd" providerId="AD" clId="Web-{D4174C55-4D02-6C67-3D32-DB13FE192095}" dt="2023-10-02T12:15:14.003" v="0" actId="1076"/>
        <pc:sldMkLst>
          <pc:docMk/>
          <pc:sldMk cId="4004059381" sldId="725"/>
        </pc:sldMkLst>
        <pc:picChg chg="mod">
          <ac:chgData name="Baker, Jessica" userId="S::jessica.baker@vyaire.com::fa30f226-1e73-482b-9854-cd8acaf0c8dd" providerId="AD" clId="Web-{D4174C55-4D02-6C67-3D32-DB13FE192095}" dt="2023-10-02T12:15:14.003" v="0" actId="1076"/>
          <ac:picMkLst>
            <pc:docMk/>
            <pc:sldMk cId="4004059381" sldId="725"/>
            <ac:picMk id="35842" creationId="{3ECCAE44-60BD-47FF-8203-D28613344B6F}"/>
          </ac:picMkLst>
        </pc:picChg>
      </pc:sldChg>
      <pc:sldChg chg="modSp">
        <pc:chgData name="Baker, Jessica" userId="S::jessica.baker@vyaire.com::fa30f226-1e73-482b-9854-cd8acaf0c8dd" providerId="AD" clId="Web-{D4174C55-4D02-6C67-3D32-DB13FE192095}" dt="2023-10-02T14:51:07.656" v="1" actId="1076"/>
        <pc:sldMkLst>
          <pc:docMk/>
          <pc:sldMk cId="2382080184" sldId="745"/>
        </pc:sldMkLst>
        <pc:spChg chg="mod">
          <ac:chgData name="Baker, Jessica" userId="S::jessica.baker@vyaire.com::fa30f226-1e73-482b-9854-cd8acaf0c8dd" providerId="AD" clId="Web-{D4174C55-4D02-6C67-3D32-DB13FE192095}" dt="2023-10-02T14:51:07.656" v="1" actId="1076"/>
          <ac:spMkLst>
            <pc:docMk/>
            <pc:sldMk cId="2382080184" sldId="745"/>
            <ac:spMk id="6" creationId="{00000000-0000-0000-0000-000000000000}"/>
          </ac:spMkLst>
        </pc:spChg>
      </pc:sldChg>
      <pc:sldChg chg="modSp">
        <pc:chgData name="Baker, Jessica" userId="S::jessica.baker@vyaire.com::fa30f226-1e73-482b-9854-cd8acaf0c8dd" providerId="AD" clId="Web-{D4174C55-4D02-6C67-3D32-DB13FE192095}" dt="2023-10-02T15:01:13.737" v="2" actId="14100"/>
        <pc:sldMkLst>
          <pc:docMk/>
          <pc:sldMk cId="128624686" sldId="747"/>
        </pc:sldMkLst>
        <pc:spChg chg="mod">
          <ac:chgData name="Baker, Jessica" userId="S::jessica.baker@vyaire.com::fa30f226-1e73-482b-9854-cd8acaf0c8dd" providerId="AD" clId="Web-{D4174C55-4D02-6C67-3D32-DB13FE192095}" dt="2023-10-02T15:01:13.737" v="2" actId="14100"/>
          <ac:spMkLst>
            <pc:docMk/>
            <pc:sldMk cId="128624686" sldId="747"/>
            <ac:spMk id="4" creationId="{00000000-0000-0000-0000-000000000000}"/>
          </ac:spMkLst>
        </pc:spChg>
      </pc:sldChg>
      <pc:sldChg chg="modSp">
        <pc:chgData name="Baker, Jessica" userId="S::jessica.baker@vyaire.com::fa30f226-1e73-482b-9854-cd8acaf0c8dd" providerId="AD" clId="Web-{D4174C55-4D02-6C67-3D32-DB13FE192095}" dt="2023-10-02T15:05:33.026" v="4"/>
        <pc:sldMkLst>
          <pc:docMk/>
          <pc:sldMk cId="3298811015" sldId="749"/>
        </pc:sldMkLst>
        <pc:graphicFrameChg chg="modGraphic">
          <ac:chgData name="Baker, Jessica" userId="S::jessica.baker@vyaire.com::fa30f226-1e73-482b-9854-cd8acaf0c8dd" providerId="AD" clId="Web-{D4174C55-4D02-6C67-3D32-DB13FE192095}" dt="2023-10-02T15:05:33.026" v="4"/>
          <ac:graphicFrameMkLst>
            <pc:docMk/>
            <pc:sldMk cId="3298811015" sldId="749"/>
            <ac:graphicFrameMk id="4" creationId="{00000000-0000-0000-0000-000000000000}"/>
          </ac:graphicFrameMkLst>
        </pc:graphicFrameChg>
      </pc:sldChg>
    </pc:docChg>
  </pc:docChgLst>
  <pc:docChgLst>
    <pc:chgData clId="Web-{AB86ED66-E491-3657-1647-42618AC2664D}"/>
    <pc:docChg chg="modSld">
      <pc:chgData name="" userId="" providerId="" clId="Web-{AB86ED66-E491-3657-1647-42618AC2664D}" dt="2023-10-27T11:18:10.545" v="0" actId="20577"/>
      <pc:docMkLst>
        <pc:docMk/>
      </pc:docMkLst>
      <pc:sldChg chg="modSp">
        <pc:chgData name="" userId="" providerId="" clId="Web-{AB86ED66-E491-3657-1647-42618AC2664D}" dt="2023-10-27T11:18:10.545" v="0" actId="20577"/>
        <pc:sldMkLst>
          <pc:docMk/>
          <pc:sldMk cId="585103864" sldId="2145706081"/>
        </pc:sldMkLst>
        <pc:spChg chg="mod">
          <ac:chgData name="" userId="" providerId="" clId="Web-{AB86ED66-E491-3657-1647-42618AC2664D}" dt="2023-10-27T11:18:10.545" v="0" actId="20577"/>
          <ac:spMkLst>
            <pc:docMk/>
            <pc:sldMk cId="585103864" sldId="2145706081"/>
            <ac:spMk id="2" creationId="{90E1663E-996E-FD4A-A9E7-EC8F345D0664}"/>
          </ac:spMkLst>
        </pc:spChg>
      </pc:sldChg>
    </pc:docChg>
  </pc:docChgLst>
</pc:chgInfo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7" Type="http://schemas.openxmlformats.org/officeDocument/2006/relationships/image" Target="../media/image52.png"/><Relationship Id="rId2" Type="http://schemas.openxmlformats.org/officeDocument/2006/relationships/image" Target="../media/image47.png"/><Relationship Id="rId1" Type="http://schemas.openxmlformats.org/officeDocument/2006/relationships/image" Target="../media/image46.png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7" Type="http://schemas.openxmlformats.org/officeDocument/2006/relationships/image" Target="../media/image52.png"/><Relationship Id="rId2" Type="http://schemas.openxmlformats.org/officeDocument/2006/relationships/image" Target="../media/image47.png"/><Relationship Id="rId1" Type="http://schemas.openxmlformats.org/officeDocument/2006/relationships/image" Target="../media/image46.png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1FA4F26-A33B-4E87-A2BA-92A65FAF415E}" type="doc">
      <dgm:prSet loTypeId="urn:microsoft.com/office/officeart/2005/8/layout/matrix1" loCatId="matrix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en-GB"/>
        </a:p>
      </dgm:t>
    </dgm:pt>
    <dgm:pt modelId="{25B62745-0FFC-4F18-B568-0F48AEEEDF95}">
      <dgm:prSet phldrT="[Text]"/>
      <dgm:spPr/>
      <dgm:t>
        <a:bodyPr/>
        <a:lstStyle/>
        <a:p>
          <a:r>
            <a:rPr lang="en-GB" dirty="0"/>
            <a:t>Generate more business! </a:t>
          </a:r>
        </a:p>
      </dgm:t>
    </dgm:pt>
    <dgm:pt modelId="{3E9292C0-713A-49E4-890B-5A51309A2EFA}" type="parTrans" cxnId="{5D05A8AB-2E95-4055-A03A-B2342616C3DD}">
      <dgm:prSet/>
      <dgm:spPr/>
      <dgm:t>
        <a:bodyPr/>
        <a:lstStyle/>
        <a:p>
          <a:endParaRPr lang="en-GB"/>
        </a:p>
      </dgm:t>
    </dgm:pt>
    <dgm:pt modelId="{79AC7054-C4F6-4C7F-9F32-321A6F193A4E}" type="sibTrans" cxnId="{5D05A8AB-2E95-4055-A03A-B2342616C3DD}">
      <dgm:prSet/>
      <dgm:spPr/>
      <dgm:t>
        <a:bodyPr/>
        <a:lstStyle/>
        <a:p>
          <a:endParaRPr lang="en-GB"/>
        </a:p>
      </dgm:t>
    </dgm:pt>
    <dgm:pt modelId="{D63A1690-53E7-4ED2-B38B-A7C40C759238}">
      <dgm:prSet phldrT="[Text]"/>
      <dgm:spPr/>
      <dgm:t>
        <a:bodyPr/>
        <a:lstStyle/>
        <a:p>
          <a:endParaRPr lang="en-GB" dirty="0"/>
        </a:p>
        <a:p>
          <a:r>
            <a:rPr lang="en-GB" dirty="0"/>
            <a:t>Target Areas: ICU, RESP WARDS, HDU, RESP Physios, procurement </a:t>
          </a:r>
        </a:p>
      </dgm:t>
    </dgm:pt>
    <dgm:pt modelId="{4B8683BD-F35A-4705-8752-17AB38A9BE11}" type="parTrans" cxnId="{30987673-A655-42D7-962D-BEABFAF05280}">
      <dgm:prSet/>
      <dgm:spPr/>
      <dgm:t>
        <a:bodyPr/>
        <a:lstStyle/>
        <a:p>
          <a:endParaRPr lang="en-GB"/>
        </a:p>
      </dgm:t>
    </dgm:pt>
    <dgm:pt modelId="{ED451F02-7DBE-4533-B904-56D5D9DCB8EB}" type="sibTrans" cxnId="{30987673-A655-42D7-962D-BEABFAF05280}">
      <dgm:prSet/>
      <dgm:spPr/>
      <dgm:t>
        <a:bodyPr/>
        <a:lstStyle/>
        <a:p>
          <a:endParaRPr lang="en-GB"/>
        </a:p>
      </dgm:t>
    </dgm:pt>
    <dgm:pt modelId="{8C766400-49EA-4E3F-A8D2-68F3C23F814F}">
      <dgm:prSet phldrT="[Text]"/>
      <dgm:spPr/>
      <dgm:t>
        <a:bodyPr/>
        <a:lstStyle/>
        <a:p>
          <a:r>
            <a:rPr lang="en-GB" dirty="0"/>
            <a:t>Multiple means of communication, phone, email, sample packs, lunch meetings, audit/study days</a:t>
          </a:r>
        </a:p>
      </dgm:t>
    </dgm:pt>
    <dgm:pt modelId="{11E106CD-7641-48B9-98D6-0CDFE3923622}" type="parTrans" cxnId="{25E1A28C-D732-4776-B2B5-0AAD2A93CE8E}">
      <dgm:prSet/>
      <dgm:spPr/>
      <dgm:t>
        <a:bodyPr/>
        <a:lstStyle/>
        <a:p>
          <a:endParaRPr lang="en-GB"/>
        </a:p>
      </dgm:t>
    </dgm:pt>
    <dgm:pt modelId="{D36F1684-DEB3-43EA-9AB8-AB75CAADA801}" type="sibTrans" cxnId="{25E1A28C-D732-4776-B2B5-0AAD2A93CE8E}">
      <dgm:prSet/>
      <dgm:spPr/>
      <dgm:t>
        <a:bodyPr/>
        <a:lstStyle/>
        <a:p>
          <a:endParaRPr lang="en-GB"/>
        </a:p>
      </dgm:t>
    </dgm:pt>
    <dgm:pt modelId="{502499B3-89F6-4A30-AE95-F40A98D77430}">
      <dgm:prSet phldrT="[Text]"/>
      <dgm:spPr/>
      <dgm:t>
        <a:bodyPr/>
        <a:lstStyle/>
        <a:p>
          <a:r>
            <a:rPr lang="en-GB" dirty="0"/>
            <a:t>Sales pitch – be aggressive </a:t>
          </a:r>
        </a:p>
        <a:p>
          <a:r>
            <a:rPr lang="en-GB" dirty="0"/>
            <a:t>Focus on features and benefits</a:t>
          </a:r>
        </a:p>
        <a:p>
          <a:endParaRPr lang="en-GB" dirty="0"/>
        </a:p>
        <a:p>
          <a:endParaRPr lang="en-GB" dirty="0"/>
        </a:p>
      </dgm:t>
    </dgm:pt>
    <dgm:pt modelId="{3B6FF277-7894-44D2-AAEB-29B11244AB0C}" type="parTrans" cxnId="{DA2413B4-6013-4451-95D5-DF50B843A8A2}">
      <dgm:prSet/>
      <dgm:spPr/>
      <dgm:t>
        <a:bodyPr/>
        <a:lstStyle/>
        <a:p>
          <a:endParaRPr lang="en-GB"/>
        </a:p>
      </dgm:t>
    </dgm:pt>
    <dgm:pt modelId="{3AAA7C08-0CB5-4DA0-9E6B-98D403B16A02}" type="sibTrans" cxnId="{DA2413B4-6013-4451-95D5-DF50B843A8A2}">
      <dgm:prSet/>
      <dgm:spPr/>
      <dgm:t>
        <a:bodyPr/>
        <a:lstStyle/>
        <a:p>
          <a:endParaRPr lang="en-GB"/>
        </a:p>
      </dgm:t>
    </dgm:pt>
    <dgm:pt modelId="{43CFDC73-4391-4F0D-8F7C-880B54209CAF}">
      <dgm:prSet phldrT="[Text]"/>
      <dgm:spPr/>
      <dgm:t>
        <a:bodyPr/>
        <a:lstStyle/>
        <a:p>
          <a:r>
            <a:rPr lang="en-GB" dirty="0"/>
            <a:t>Price – we are extremely competitive compared to other brands in the field</a:t>
          </a:r>
        </a:p>
      </dgm:t>
    </dgm:pt>
    <dgm:pt modelId="{DB0B37D2-810A-42C3-B7AB-48E0773E694D}" type="parTrans" cxnId="{35C47CA9-BDD2-40F5-8E39-74DCB9FF3257}">
      <dgm:prSet/>
      <dgm:spPr/>
      <dgm:t>
        <a:bodyPr/>
        <a:lstStyle/>
        <a:p>
          <a:endParaRPr lang="en-GB"/>
        </a:p>
      </dgm:t>
    </dgm:pt>
    <dgm:pt modelId="{B545F365-D643-4F75-90E7-EAABF949DB7E}" type="sibTrans" cxnId="{35C47CA9-BDD2-40F5-8E39-74DCB9FF3257}">
      <dgm:prSet/>
      <dgm:spPr/>
      <dgm:t>
        <a:bodyPr/>
        <a:lstStyle/>
        <a:p>
          <a:endParaRPr lang="en-GB"/>
        </a:p>
      </dgm:t>
    </dgm:pt>
    <dgm:pt modelId="{9469BBF5-9F17-477B-8013-71595F330659}" type="pres">
      <dgm:prSet presAssocID="{D1FA4F26-A33B-4E87-A2BA-92A65FAF415E}" presName="diagram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6E14F457-984A-4B65-86C2-D34666EB36A1}" type="pres">
      <dgm:prSet presAssocID="{D1FA4F26-A33B-4E87-A2BA-92A65FAF415E}" presName="matrix" presStyleCnt="0"/>
      <dgm:spPr/>
    </dgm:pt>
    <dgm:pt modelId="{A817FC5A-CCC1-4ED1-91BD-5C229DF60C5F}" type="pres">
      <dgm:prSet presAssocID="{D1FA4F26-A33B-4E87-A2BA-92A65FAF415E}" presName="tile1" presStyleLbl="node1" presStyleIdx="0" presStyleCnt="4" custLinFactNeighborX="-289" custLinFactNeighborY="443"/>
      <dgm:spPr/>
    </dgm:pt>
    <dgm:pt modelId="{2248CEC8-EE6E-4E79-83CB-873FFDEC0658}" type="pres">
      <dgm:prSet presAssocID="{D1FA4F26-A33B-4E87-A2BA-92A65FAF415E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051D3773-929C-4A38-B908-3E04F4FBECF2}" type="pres">
      <dgm:prSet presAssocID="{D1FA4F26-A33B-4E87-A2BA-92A65FAF415E}" presName="tile2" presStyleLbl="node1" presStyleIdx="1" presStyleCnt="4"/>
      <dgm:spPr/>
    </dgm:pt>
    <dgm:pt modelId="{31EF66A1-C6B3-4C1A-843B-33244651D27B}" type="pres">
      <dgm:prSet presAssocID="{D1FA4F26-A33B-4E87-A2BA-92A65FAF415E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64EDE969-84A9-44C8-8D76-5E9F1ED1E94F}" type="pres">
      <dgm:prSet presAssocID="{D1FA4F26-A33B-4E87-A2BA-92A65FAF415E}" presName="tile3" presStyleLbl="node1" presStyleIdx="2" presStyleCnt="4" custLinFactNeighborX="-1102" custLinFactNeighborY="0"/>
      <dgm:spPr/>
    </dgm:pt>
    <dgm:pt modelId="{18766CE5-2161-4FF4-8D88-47DD3AB7F8D9}" type="pres">
      <dgm:prSet presAssocID="{D1FA4F26-A33B-4E87-A2BA-92A65FAF415E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12899D2C-89C6-493D-A063-0FF879098CAF}" type="pres">
      <dgm:prSet presAssocID="{D1FA4F26-A33B-4E87-A2BA-92A65FAF415E}" presName="tile4" presStyleLbl="node1" presStyleIdx="3" presStyleCnt="4"/>
      <dgm:spPr/>
    </dgm:pt>
    <dgm:pt modelId="{C3C30AFC-5240-451A-B54C-40B0CADE97CE}" type="pres">
      <dgm:prSet presAssocID="{D1FA4F26-A33B-4E87-A2BA-92A65FAF415E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153D2728-F066-4F0F-B5E4-7ADD22DC6F5D}" type="pres">
      <dgm:prSet presAssocID="{D1FA4F26-A33B-4E87-A2BA-92A65FAF415E}" presName="centerTile" presStyleLbl="fgShp" presStyleIdx="0" presStyleCnt="1">
        <dgm:presLayoutVars>
          <dgm:chMax val="0"/>
          <dgm:chPref val="0"/>
        </dgm:presLayoutVars>
      </dgm:prSet>
      <dgm:spPr/>
    </dgm:pt>
  </dgm:ptLst>
  <dgm:cxnLst>
    <dgm:cxn modelId="{E8AFF310-E37C-4F07-87E8-B48FAE397662}" type="presOf" srcId="{25B62745-0FFC-4F18-B568-0F48AEEEDF95}" destId="{153D2728-F066-4F0F-B5E4-7ADD22DC6F5D}" srcOrd="0" destOrd="0" presId="urn:microsoft.com/office/officeart/2005/8/layout/matrix1"/>
    <dgm:cxn modelId="{F1E7832C-F794-4D70-B182-9BF1F96E0638}" type="presOf" srcId="{D1FA4F26-A33B-4E87-A2BA-92A65FAF415E}" destId="{9469BBF5-9F17-477B-8013-71595F330659}" srcOrd="0" destOrd="0" presId="urn:microsoft.com/office/officeart/2005/8/layout/matrix1"/>
    <dgm:cxn modelId="{45AF0F39-6971-4C16-9AD3-EE4ED9ABAFEF}" type="presOf" srcId="{8C766400-49EA-4E3F-A8D2-68F3C23F814F}" destId="{31EF66A1-C6B3-4C1A-843B-33244651D27B}" srcOrd="1" destOrd="0" presId="urn:microsoft.com/office/officeart/2005/8/layout/matrix1"/>
    <dgm:cxn modelId="{3E05966F-0FDC-48C3-8F2B-ADE815EA83BC}" type="presOf" srcId="{43CFDC73-4391-4F0D-8F7C-880B54209CAF}" destId="{12899D2C-89C6-493D-A063-0FF879098CAF}" srcOrd="0" destOrd="0" presId="urn:microsoft.com/office/officeart/2005/8/layout/matrix1"/>
    <dgm:cxn modelId="{30987673-A655-42D7-962D-BEABFAF05280}" srcId="{25B62745-0FFC-4F18-B568-0F48AEEEDF95}" destId="{D63A1690-53E7-4ED2-B38B-A7C40C759238}" srcOrd="0" destOrd="0" parTransId="{4B8683BD-F35A-4705-8752-17AB38A9BE11}" sibTransId="{ED451F02-7DBE-4533-B904-56D5D9DCB8EB}"/>
    <dgm:cxn modelId="{B87FF354-F6AC-47DE-9A2D-469C60E1605A}" type="presOf" srcId="{502499B3-89F6-4A30-AE95-F40A98D77430}" destId="{18766CE5-2161-4FF4-8D88-47DD3AB7F8D9}" srcOrd="1" destOrd="0" presId="urn:microsoft.com/office/officeart/2005/8/layout/matrix1"/>
    <dgm:cxn modelId="{F0946C56-B345-4218-AB29-B6AD576A3373}" type="presOf" srcId="{502499B3-89F6-4A30-AE95-F40A98D77430}" destId="{64EDE969-84A9-44C8-8D76-5E9F1ED1E94F}" srcOrd="0" destOrd="0" presId="urn:microsoft.com/office/officeart/2005/8/layout/matrix1"/>
    <dgm:cxn modelId="{E0EEAC77-7FB0-4D2D-86BD-1E25F83320E7}" type="presOf" srcId="{D63A1690-53E7-4ED2-B38B-A7C40C759238}" destId="{2248CEC8-EE6E-4E79-83CB-873FFDEC0658}" srcOrd="1" destOrd="0" presId="urn:microsoft.com/office/officeart/2005/8/layout/matrix1"/>
    <dgm:cxn modelId="{6200767F-56D0-4D31-BE9C-E93C8C20234D}" type="presOf" srcId="{8C766400-49EA-4E3F-A8D2-68F3C23F814F}" destId="{051D3773-929C-4A38-B908-3E04F4FBECF2}" srcOrd="0" destOrd="0" presId="urn:microsoft.com/office/officeart/2005/8/layout/matrix1"/>
    <dgm:cxn modelId="{25E1A28C-D732-4776-B2B5-0AAD2A93CE8E}" srcId="{25B62745-0FFC-4F18-B568-0F48AEEEDF95}" destId="{8C766400-49EA-4E3F-A8D2-68F3C23F814F}" srcOrd="1" destOrd="0" parTransId="{11E106CD-7641-48B9-98D6-0CDFE3923622}" sibTransId="{D36F1684-DEB3-43EA-9AB8-AB75CAADA801}"/>
    <dgm:cxn modelId="{35C47CA9-BDD2-40F5-8E39-74DCB9FF3257}" srcId="{25B62745-0FFC-4F18-B568-0F48AEEEDF95}" destId="{43CFDC73-4391-4F0D-8F7C-880B54209CAF}" srcOrd="3" destOrd="0" parTransId="{DB0B37D2-810A-42C3-B7AB-48E0773E694D}" sibTransId="{B545F365-D643-4F75-90E7-EAABF949DB7E}"/>
    <dgm:cxn modelId="{5D05A8AB-2E95-4055-A03A-B2342616C3DD}" srcId="{D1FA4F26-A33B-4E87-A2BA-92A65FAF415E}" destId="{25B62745-0FFC-4F18-B568-0F48AEEEDF95}" srcOrd="0" destOrd="0" parTransId="{3E9292C0-713A-49E4-890B-5A51309A2EFA}" sibTransId="{79AC7054-C4F6-4C7F-9F32-321A6F193A4E}"/>
    <dgm:cxn modelId="{92E16FB0-190B-45ED-8113-87F13792D23F}" type="presOf" srcId="{43CFDC73-4391-4F0D-8F7C-880B54209CAF}" destId="{C3C30AFC-5240-451A-B54C-40B0CADE97CE}" srcOrd="1" destOrd="0" presId="urn:microsoft.com/office/officeart/2005/8/layout/matrix1"/>
    <dgm:cxn modelId="{DA2413B4-6013-4451-95D5-DF50B843A8A2}" srcId="{25B62745-0FFC-4F18-B568-0F48AEEEDF95}" destId="{502499B3-89F6-4A30-AE95-F40A98D77430}" srcOrd="2" destOrd="0" parTransId="{3B6FF277-7894-44D2-AAEB-29B11244AB0C}" sibTransId="{3AAA7C08-0CB5-4DA0-9E6B-98D403B16A02}"/>
    <dgm:cxn modelId="{0903A2D0-6B67-4BA1-9672-C5000A01FE7A}" type="presOf" srcId="{D63A1690-53E7-4ED2-B38B-A7C40C759238}" destId="{A817FC5A-CCC1-4ED1-91BD-5C229DF60C5F}" srcOrd="0" destOrd="0" presId="urn:microsoft.com/office/officeart/2005/8/layout/matrix1"/>
    <dgm:cxn modelId="{764CEE76-2A9C-4C83-BDFF-10FA0C830973}" type="presParOf" srcId="{9469BBF5-9F17-477B-8013-71595F330659}" destId="{6E14F457-984A-4B65-86C2-D34666EB36A1}" srcOrd="0" destOrd="0" presId="urn:microsoft.com/office/officeart/2005/8/layout/matrix1"/>
    <dgm:cxn modelId="{7A0E85B3-EE37-4B42-981A-55FE56C78DFD}" type="presParOf" srcId="{6E14F457-984A-4B65-86C2-D34666EB36A1}" destId="{A817FC5A-CCC1-4ED1-91BD-5C229DF60C5F}" srcOrd="0" destOrd="0" presId="urn:microsoft.com/office/officeart/2005/8/layout/matrix1"/>
    <dgm:cxn modelId="{B9C7E515-8395-4238-9B1A-A7D89784896B}" type="presParOf" srcId="{6E14F457-984A-4B65-86C2-D34666EB36A1}" destId="{2248CEC8-EE6E-4E79-83CB-873FFDEC0658}" srcOrd="1" destOrd="0" presId="urn:microsoft.com/office/officeart/2005/8/layout/matrix1"/>
    <dgm:cxn modelId="{F8725109-B548-4CA9-9A10-8ECCBB7E375C}" type="presParOf" srcId="{6E14F457-984A-4B65-86C2-D34666EB36A1}" destId="{051D3773-929C-4A38-B908-3E04F4FBECF2}" srcOrd="2" destOrd="0" presId="urn:microsoft.com/office/officeart/2005/8/layout/matrix1"/>
    <dgm:cxn modelId="{97FFE6A8-CC4A-4485-B0D9-E9624BC38BB1}" type="presParOf" srcId="{6E14F457-984A-4B65-86C2-D34666EB36A1}" destId="{31EF66A1-C6B3-4C1A-843B-33244651D27B}" srcOrd="3" destOrd="0" presId="urn:microsoft.com/office/officeart/2005/8/layout/matrix1"/>
    <dgm:cxn modelId="{E1D6F6D7-7136-4FEA-B068-F7C59E9CCC13}" type="presParOf" srcId="{6E14F457-984A-4B65-86C2-D34666EB36A1}" destId="{64EDE969-84A9-44C8-8D76-5E9F1ED1E94F}" srcOrd="4" destOrd="0" presId="urn:microsoft.com/office/officeart/2005/8/layout/matrix1"/>
    <dgm:cxn modelId="{605E8AD4-60B5-4577-B71D-136889C7CBB6}" type="presParOf" srcId="{6E14F457-984A-4B65-86C2-D34666EB36A1}" destId="{18766CE5-2161-4FF4-8D88-47DD3AB7F8D9}" srcOrd="5" destOrd="0" presId="urn:microsoft.com/office/officeart/2005/8/layout/matrix1"/>
    <dgm:cxn modelId="{07CA4270-4A15-40E0-8D58-546397629F8A}" type="presParOf" srcId="{6E14F457-984A-4B65-86C2-D34666EB36A1}" destId="{12899D2C-89C6-493D-A063-0FF879098CAF}" srcOrd="6" destOrd="0" presId="urn:microsoft.com/office/officeart/2005/8/layout/matrix1"/>
    <dgm:cxn modelId="{16A3561B-83B3-43F2-AF50-AA76FFFE00A7}" type="presParOf" srcId="{6E14F457-984A-4B65-86C2-D34666EB36A1}" destId="{C3C30AFC-5240-451A-B54C-40B0CADE97CE}" srcOrd="7" destOrd="0" presId="urn:microsoft.com/office/officeart/2005/8/layout/matrix1"/>
    <dgm:cxn modelId="{FABDFA0B-C53D-418C-A715-D5AB746AD92C}" type="presParOf" srcId="{9469BBF5-9F17-477B-8013-71595F330659}" destId="{153D2728-F066-4F0F-B5E4-7ADD22DC6F5D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9057FDE-08BA-4F50-B798-C9B3BFE84A3B}" type="doc">
      <dgm:prSet loTypeId="urn:microsoft.com/office/officeart/2005/8/layout/hList7" loCatId="list" qsTypeId="urn:microsoft.com/office/officeart/2005/8/quickstyle/simple1" qsCatId="simple" csTypeId="urn:microsoft.com/office/officeart/2005/8/colors/accent1_2" csCatId="accent1" phldr="1"/>
      <dgm:spPr/>
    </dgm:pt>
    <dgm:pt modelId="{808545C8-807C-45CE-926D-E08331563D3B}">
      <dgm:prSet phldrT="[Text]"/>
      <dgm:spPr/>
      <dgm:t>
        <a:bodyPr/>
        <a:lstStyle/>
        <a:p>
          <a:r>
            <a:rPr lang="en-US" dirty="0"/>
            <a:t>Soft seal</a:t>
          </a:r>
        </a:p>
      </dgm:t>
    </dgm:pt>
    <dgm:pt modelId="{908D8121-7A15-4020-9A57-413912A02A55}" type="parTrans" cxnId="{8E3EA5D6-90E0-4D99-84CA-D10C0BF78972}">
      <dgm:prSet/>
      <dgm:spPr/>
      <dgm:t>
        <a:bodyPr/>
        <a:lstStyle/>
        <a:p>
          <a:endParaRPr lang="en-US"/>
        </a:p>
      </dgm:t>
    </dgm:pt>
    <dgm:pt modelId="{DBD6DE41-5A43-495F-8035-DE068E71E28E}" type="sibTrans" cxnId="{8E3EA5D6-90E0-4D99-84CA-D10C0BF78972}">
      <dgm:prSet/>
      <dgm:spPr/>
      <dgm:t>
        <a:bodyPr/>
        <a:lstStyle/>
        <a:p>
          <a:endParaRPr lang="en-US"/>
        </a:p>
      </dgm:t>
    </dgm:pt>
    <dgm:pt modelId="{92EA9330-F7F8-49AF-B3E6-42AE2152E268}">
      <dgm:prSet phldrT="[Text]"/>
      <dgm:spPr/>
      <dgm:t>
        <a:bodyPr/>
        <a:lstStyle/>
        <a:p>
          <a:r>
            <a:rPr lang="en-US" dirty="0"/>
            <a:t>4-Point head gear</a:t>
          </a:r>
        </a:p>
      </dgm:t>
    </dgm:pt>
    <dgm:pt modelId="{BE640D54-8441-462E-A1B3-34A148778069}" type="parTrans" cxnId="{EE8CD9CB-E8CD-4631-83B3-B934CE0F0DE6}">
      <dgm:prSet/>
      <dgm:spPr/>
      <dgm:t>
        <a:bodyPr/>
        <a:lstStyle/>
        <a:p>
          <a:endParaRPr lang="en-US"/>
        </a:p>
      </dgm:t>
    </dgm:pt>
    <dgm:pt modelId="{5B8C21A9-E395-4891-AB82-9EFD05168396}" type="sibTrans" cxnId="{EE8CD9CB-E8CD-4631-83B3-B934CE0F0DE6}">
      <dgm:prSet/>
      <dgm:spPr/>
      <dgm:t>
        <a:bodyPr/>
        <a:lstStyle/>
        <a:p>
          <a:endParaRPr lang="en-US"/>
        </a:p>
      </dgm:t>
    </dgm:pt>
    <dgm:pt modelId="{511EFEAC-4FAB-4F47-A785-3BCC008182EA}">
      <dgm:prSet/>
      <dgm:spPr/>
      <dgm:t>
        <a:bodyPr/>
        <a:lstStyle/>
        <a:p>
          <a:r>
            <a:rPr lang="en-US" dirty="0"/>
            <a:t>Quick clip</a:t>
          </a:r>
        </a:p>
      </dgm:t>
    </dgm:pt>
    <dgm:pt modelId="{911ABB6A-1D3A-4CFC-AFEF-9BB2F8F86F20}" type="parTrans" cxnId="{509A529C-3C10-465B-9DD5-6A8839227C53}">
      <dgm:prSet/>
      <dgm:spPr/>
      <dgm:t>
        <a:bodyPr/>
        <a:lstStyle/>
        <a:p>
          <a:endParaRPr lang="en-US"/>
        </a:p>
      </dgm:t>
    </dgm:pt>
    <dgm:pt modelId="{D6E5C810-8319-4E76-8686-1383F2F23FE4}" type="sibTrans" cxnId="{509A529C-3C10-465B-9DD5-6A8839227C53}">
      <dgm:prSet/>
      <dgm:spPr/>
      <dgm:t>
        <a:bodyPr/>
        <a:lstStyle/>
        <a:p>
          <a:endParaRPr lang="en-US"/>
        </a:p>
      </dgm:t>
    </dgm:pt>
    <dgm:pt modelId="{A3191F40-7030-4F0F-8148-DB0DFD48D86D}">
      <dgm:prSet/>
      <dgm:spPr/>
      <dgm:t>
        <a:bodyPr/>
        <a:lstStyle/>
        <a:p>
          <a:r>
            <a:rPr lang="en-US" dirty="0"/>
            <a:t>No added DEHP</a:t>
          </a:r>
        </a:p>
      </dgm:t>
    </dgm:pt>
    <dgm:pt modelId="{AC7E750F-223F-46AE-B23D-9DD172739AE0}" type="parTrans" cxnId="{6A8C4CAA-1790-427A-BFD0-3B735C75DC0F}">
      <dgm:prSet/>
      <dgm:spPr/>
      <dgm:t>
        <a:bodyPr/>
        <a:lstStyle/>
        <a:p>
          <a:endParaRPr lang="en-US"/>
        </a:p>
      </dgm:t>
    </dgm:pt>
    <dgm:pt modelId="{EE3B81DB-9601-4AFF-95E0-73EB50ECBB3A}" type="sibTrans" cxnId="{6A8C4CAA-1790-427A-BFD0-3B735C75DC0F}">
      <dgm:prSet/>
      <dgm:spPr/>
      <dgm:t>
        <a:bodyPr/>
        <a:lstStyle/>
        <a:p>
          <a:endParaRPr lang="en-US"/>
        </a:p>
      </dgm:t>
    </dgm:pt>
    <dgm:pt modelId="{998935E9-CA13-4BE1-B081-17399D521F7F}">
      <dgm:prSet/>
      <dgm:spPr/>
      <dgm:t>
        <a:bodyPr/>
        <a:lstStyle/>
        <a:p>
          <a:r>
            <a:rPr lang="en-US" u="none" dirty="0"/>
            <a:t>Flexible</a:t>
          </a:r>
          <a:r>
            <a:rPr lang="en-US" dirty="0"/>
            <a:t>, double swivel elbow</a:t>
          </a:r>
        </a:p>
      </dgm:t>
    </dgm:pt>
    <dgm:pt modelId="{E7918F0E-7316-4EB5-A832-F52E203A40FB}" type="parTrans" cxnId="{3A694649-4FD6-46B1-AAEB-078FCCDEEDA7}">
      <dgm:prSet/>
      <dgm:spPr/>
      <dgm:t>
        <a:bodyPr/>
        <a:lstStyle/>
        <a:p>
          <a:endParaRPr lang="en-US"/>
        </a:p>
      </dgm:t>
    </dgm:pt>
    <dgm:pt modelId="{2D6D5395-1743-40BD-B47A-967F712A09A0}" type="sibTrans" cxnId="{3A694649-4FD6-46B1-AAEB-078FCCDEEDA7}">
      <dgm:prSet/>
      <dgm:spPr/>
      <dgm:t>
        <a:bodyPr/>
        <a:lstStyle/>
        <a:p>
          <a:endParaRPr lang="en-US"/>
        </a:p>
      </dgm:t>
    </dgm:pt>
    <dgm:pt modelId="{4AF1A847-51E0-45A5-B2B9-86FD2585FD3C}">
      <dgm:prSet/>
      <dgm:spPr/>
      <dgm:t>
        <a:bodyPr/>
        <a:lstStyle/>
        <a:p>
          <a:r>
            <a:rPr lang="en-GB" dirty="0"/>
            <a:t>External frame</a:t>
          </a:r>
        </a:p>
      </dgm:t>
    </dgm:pt>
    <dgm:pt modelId="{995CD6E0-DF5D-4317-BA87-3BF2128433B6}" type="sibTrans" cxnId="{2A968551-CEBF-4061-A1FC-6D84D6FB0618}">
      <dgm:prSet/>
      <dgm:spPr/>
      <dgm:t>
        <a:bodyPr/>
        <a:lstStyle/>
        <a:p>
          <a:endParaRPr lang="en-GB"/>
        </a:p>
      </dgm:t>
    </dgm:pt>
    <dgm:pt modelId="{B9AD9D44-BAAB-4C33-B40F-F61ACACBBD01}" type="parTrans" cxnId="{2A968551-CEBF-4061-A1FC-6D84D6FB0618}">
      <dgm:prSet/>
      <dgm:spPr/>
      <dgm:t>
        <a:bodyPr/>
        <a:lstStyle/>
        <a:p>
          <a:endParaRPr lang="en-GB"/>
        </a:p>
      </dgm:t>
    </dgm:pt>
    <dgm:pt modelId="{52C27555-1068-4271-9923-6B72585E8B81}">
      <dgm:prSet/>
      <dgm:spPr/>
      <dgm:t>
        <a:bodyPr/>
        <a:lstStyle/>
        <a:p>
          <a:r>
            <a:rPr lang="en-US" dirty="0"/>
            <a:t>Large, soft forehead pad</a:t>
          </a:r>
        </a:p>
      </dgm:t>
    </dgm:pt>
    <dgm:pt modelId="{5118D5DF-3883-4242-A3F6-E8AAC80AD8FE}" type="sibTrans" cxnId="{1CD5F772-7A46-4E13-9B6E-CF1580B210BF}">
      <dgm:prSet/>
      <dgm:spPr/>
      <dgm:t>
        <a:bodyPr/>
        <a:lstStyle/>
        <a:p>
          <a:endParaRPr lang="en-US"/>
        </a:p>
      </dgm:t>
    </dgm:pt>
    <dgm:pt modelId="{9F39A2CC-C5BB-4C8B-9662-06951FB18916}" type="parTrans" cxnId="{1CD5F772-7A46-4E13-9B6E-CF1580B210BF}">
      <dgm:prSet/>
      <dgm:spPr/>
      <dgm:t>
        <a:bodyPr/>
        <a:lstStyle/>
        <a:p>
          <a:endParaRPr lang="en-US"/>
        </a:p>
      </dgm:t>
    </dgm:pt>
    <dgm:pt modelId="{C97BA280-EFBD-4635-B43A-15BDB07C2362}" type="pres">
      <dgm:prSet presAssocID="{59057FDE-08BA-4F50-B798-C9B3BFE84A3B}" presName="Name0" presStyleCnt="0">
        <dgm:presLayoutVars>
          <dgm:dir/>
          <dgm:resizeHandles val="exact"/>
        </dgm:presLayoutVars>
      </dgm:prSet>
      <dgm:spPr/>
    </dgm:pt>
    <dgm:pt modelId="{2500A0E4-C663-4331-BB73-F2252FF02FA8}" type="pres">
      <dgm:prSet presAssocID="{59057FDE-08BA-4F50-B798-C9B3BFE84A3B}" presName="fgShape" presStyleLbl="fgShp" presStyleIdx="0" presStyleCnt="1" custFlipVert="1" custScaleY="8915"/>
      <dgm:spPr/>
    </dgm:pt>
    <dgm:pt modelId="{5C8D7C64-FCFB-4EDF-A34A-83C77074B207}" type="pres">
      <dgm:prSet presAssocID="{59057FDE-08BA-4F50-B798-C9B3BFE84A3B}" presName="linComp" presStyleCnt="0"/>
      <dgm:spPr/>
    </dgm:pt>
    <dgm:pt modelId="{6D42FEAB-FE1E-4691-99EF-3095438FEDCB}" type="pres">
      <dgm:prSet presAssocID="{4AF1A847-51E0-45A5-B2B9-86FD2585FD3C}" presName="compNode" presStyleCnt="0"/>
      <dgm:spPr/>
    </dgm:pt>
    <dgm:pt modelId="{A6DE1C6A-F3E9-4878-9DCB-525AE967120A}" type="pres">
      <dgm:prSet presAssocID="{4AF1A847-51E0-45A5-B2B9-86FD2585FD3C}" presName="bkgdShape" presStyleLbl="node1" presStyleIdx="0" presStyleCnt="7" custLinFactNeighborX="-298"/>
      <dgm:spPr/>
    </dgm:pt>
    <dgm:pt modelId="{64B4F667-54FB-4815-8729-DA28D0C619B6}" type="pres">
      <dgm:prSet presAssocID="{4AF1A847-51E0-45A5-B2B9-86FD2585FD3C}" presName="nodeTx" presStyleLbl="node1" presStyleIdx="0" presStyleCnt="7">
        <dgm:presLayoutVars>
          <dgm:bulletEnabled val="1"/>
        </dgm:presLayoutVars>
      </dgm:prSet>
      <dgm:spPr/>
    </dgm:pt>
    <dgm:pt modelId="{6EE2B96C-9E20-49F0-BAF0-225C9D216345}" type="pres">
      <dgm:prSet presAssocID="{4AF1A847-51E0-45A5-B2B9-86FD2585FD3C}" presName="invisiNode" presStyleLbl="node1" presStyleIdx="0" presStyleCnt="7"/>
      <dgm:spPr/>
    </dgm:pt>
    <dgm:pt modelId="{498E6E9D-5D38-4849-8C1E-038195ED813A}" type="pres">
      <dgm:prSet presAssocID="{4AF1A847-51E0-45A5-B2B9-86FD2585FD3C}" presName="imagNode" presStyleLbl="fgImgPlace1" presStyleIdx="0" presStyleCnt="7" custScaleX="92759" custScaleY="61847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</dgm:pt>
    <dgm:pt modelId="{C838995F-5349-448D-8EC3-B85C7E2C648F}" type="pres">
      <dgm:prSet presAssocID="{995CD6E0-DF5D-4317-BA87-3BF2128433B6}" presName="sibTrans" presStyleLbl="sibTrans2D1" presStyleIdx="0" presStyleCnt="0"/>
      <dgm:spPr/>
    </dgm:pt>
    <dgm:pt modelId="{019E05C5-CBBF-4B07-A8F0-84BBB5ABD880}" type="pres">
      <dgm:prSet presAssocID="{998935E9-CA13-4BE1-B081-17399D521F7F}" presName="compNode" presStyleCnt="0"/>
      <dgm:spPr/>
    </dgm:pt>
    <dgm:pt modelId="{C161FC3C-6DFA-4579-8905-8B3223B246F3}" type="pres">
      <dgm:prSet presAssocID="{998935E9-CA13-4BE1-B081-17399D521F7F}" presName="bkgdShape" presStyleLbl="node1" presStyleIdx="1" presStyleCnt="7"/>
      <dgm:spPr/>
    </dgm:pt>
    <dgm:pt modelId="{36C48E6F-9C3B-4291-A017-705BBDA2BAA5}" type="pres">
      <dgm:prSet presAssocID="{998935E9-CA13-4BE1-B081-17399D521F7F}" presName="nodeTx" presStyleLbl="node1" presStyleIdx="1" presStyleCnt="7">
        <dgm:presLayoutVars>
          <dgm:bulletEnabled val="1"/>
        </dgm:presLayoutVars>
      </dgm:prSet>
      <dgm:spPr/>
    </dgm:pt>
    <dgm:pt modelId="{ECA6D7DE-0E0C-447E-BCC8-664A51BC63B1}" type="pres">
      <dgm:prSet presAssocID="{998935E9-CA13-4BE1-B081-17399D521F7F}" presName="invisiNode" presStyleLbl="node1" presStyleIdx="1" presStyleCnt="7"/>
      <dgm:spPr/>
    </dgm:pt>
    <dgm:pt modelId="{4A042F69-76AD-4DA9-8B41-8525EE50ADA8}" type="pres">
      <dgm:prSet presAssocID="{998935E9-CA13-4BE1-B081-17399D521F7F}" presName="imagNode" presStyleLbl="fgImgPlace1" presStyleIdx="1" presStyleCnt="7" custScaleX="92606" custScaleY="61847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</dgm:pt>
    <dgm:pt modelId="{26208A77-DCD9-4EF3-B7E4-813464B20756}" type="pres">
      <dgm:prSet presAssocID="{2D6D5395-1743-40BD-B47A-967F712A09A0}" presName="sibTrans" presStyleLbl="sibTrans2D1" presStyleIdx="0" presStyleCnt="0"/>
      <dgm:spPr/>
    </dgm:pt>
    <dgm:pt modelId="{02519C98-59C2-4E1F-ABB0-88FBCEA98617}" type="pres">
      <dgm:prSet presAssocID="{52C27555-1068-4271-9923-6B72585E8B81}" presName="compNode" presStyleCnt="0"/>
      <dgm:spPr/>
    </dgm:pt>
    <dgm:pt modelId="{806BBFBF-8F13-4C56-8D2A-0AD247A47F76}" type="pres">
      <dgm:prSet presAssocID="{52C27555-1068-4271-9923-6B72585E8B81}" presName="bkgdShape" presStyleLbl="node1" presStyleIdx="2" presStyleCnt="7"/>
      <dgm:spPr/>
    </dgm:pt>
    <dgm:pt modelId="{F5DDE210-81D4-4BD8-8B01-F02871C021BF}" type="pres">
      <dgm:prSet presAssocID="{52C27555-1068-4271-9923-6B72585E8B81}" presName="nodeTx" presStyleLbl="node1" presStyleIdx="2" presStyleCnt="7">
        <dgm:presLayoutVars>
          <dgm:bulletEnabled val="1"/>
        </dgm:presLayoutVars>
      </dgm:prSet>
      <dgm:spPr/>
    </dgm:pt>
    <dgm:pt modelId="{736907ED-F33F-4109-AB53-CDB5461D719A}" type="pres">
      <dgm:prSet presAssocID="{52C27555-1068-4271-9923-6B72585E8B81}" presName="invisiNode" presStyleLbl="node1" presStyleIdx="2" presStyleCnt="7"/>
      <dgm:spPr/>
    </dgm:pt>
    <dgm:pt modelId="{844642B7-DB6D-480F-A230-D86F3BA7F8E1}" type="pres">
      <dgm:prSet presAssocID="{52C27555-1068-4271-9923-6B72585E8B81}" presName="imagNode" presStyleLbl="fgImgPlace1" presStyleIdx="2" presStyleCnt="7" custScaleX="92606" custScaleY="61847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</dgm:pt>
    <dgm:pt modelId="{546CFC6B-98F6-4A61-89C9-8F6AF3BECB10}" type="pres">
      <dgm:prSet presAssocID="{5118D5DF-3883-4242-A3F6-E8AAC80AD8FE}" presName="sibTrans" presStyleLbl="sibTrans2D1" presStyleIdx="0" presStyleCnt="0"/>
      <dgm:spPr/>
    </dgm:pt>
    <dgm:pt modelId="{BCABC14F-17D6-433A-BE71-0AA0BA35E272}" type="pres">
      <dgm:prSet presAssocID="{808545C8-807C-45CE-926D-E08331563D3B}" presName="compNode" presStyleCnt="0"/>
      <dgm:spPr/>
    </dgm:pt>
    <dgm:pt modelId="{C1BAC4EB-14FE-41D0-9150-52CF1600300B}" type="pres">
      <dgm:prSet presAssocID="{808545C8-807C-45CE-926D-E08331563D3B}" presName="bkgdShape" presStyleLbl="node1" presStyleIdx="3" presStyleCnt="7" custLinFactNeighborX="-298" custLinFactNeighborY="-1526"/>
      <dgm:spPr/>
    </dgm:pt>
    <dgm:pt modelId="{DAE05C80-7766-48DE-8B77-9CE2DEAE022F}" type="pres">
      <dgm:prSet presAssocID="{808545C8-807C-45CE-926D-E08331563D3B}" presName="nodeTx" presStyleLbl="node1" presStyleIdx="3" presStyleCnt="7">
        <dgm:presLayoutVars>
          <dgm:bulletEnabled val="1"/>
        </dgm:presLayoutVars>
      </dgm:prSet>
      <dgm:spPr/>
    </dgm:pt>
    <dgm:pt modelId="{6E744374-D6B3-4FD2-83B7-81D3B4AB47AF}" type="pres">
      <dgm:prSet presAssocID="{808545C8-807C-45CE-926D-E08331563D3B}" presName="invisiNode" presStyleLbl="node1" presStyleIdx="3" presStyleCnt="7"/>
      <dgm:spPr/>
    </dgm:pt>
    <dgm:pt modelId="{16749705-BA5E-429B-A82D-0370F194B488}" type="pres">
      <dgm:prSet presAssocID="{808545C8-807C-45CE-926D-E08331563D3B}" presName="imagNode" presStyleLbl="fgImgPlace1" presStyleIdx="3" presStyleCnt="7" custScaleX="92606" custScaleY="61847"/>
      <dgm:spPr>
        <a:blipFill rotWithShape="1">
          <a:blip xmlns:r="http://schemas.openxmlformats.org/officeDocument/2006/relationships" r:embed="rId4"/>
          <a:stretch>
            <a:fillRect/>
          </a:stretch>
        </a:blipFill>
      </dgm:spPr>
    </dgm:pt>
    <dgm:pt modelId="{FA24C63E-DB4F-4FE2-9E99-6EE548C57B02}" type="pres">
      <dgm:prSet presAssocID="{DBD6DE41-5A43-495F-8035-DE068E71E28E}" presName="sibTrans" presStyleLbl="sibTrans2D1" presStyleIdx="0" presStyleCnt="0"/>
      <dgm:spPr/>
    </dgm:pt>
    <dgm:pt modelId="{55ED4DF0-58F6-48B1-B979-B8BD203874FC}" type="pres">
      <dgm:prSet presAssocID="{92EA9330-F7F8-49AF-B3E6-42AE2152E268}" presName="compNode" presStyleCnt="0"/>
      <dgm:spPr/>
    </dgm:pt>
    <dgm:pt modelId="{1A8B3CFF-B1A0-4679-9052-0CA19FCFAFE9}" type="pres">
      <dgm:prSet presAssocID="{92EA9330-F7F8-49AF-B3E6-42AE2152E268}" presName="bkgdShape" presStyleLbl="node1" presStyleIdx="4" presStyleCnt="7"/>
      <dgm:spPr/>
    </dgm:pt>
    <dgm:pt modelId="{40D1D6A1-36E2-4937-B42A-DDE743A495B9}" type="pres">
      <dgm:prSet presAssocID="{92EA9330-F7F8-49AF-B3E6-42AE2152E268}" presName="nodeTx" presStyleLbl="node1" presStyleIdx="4" presStyleCnt="7">
        <dgm:presLayoutVars>
          <dgm:bulletEnabled val="1"/>
        </dgm:presLayoutVars>
      </dgm:prSet>
      <dgm:spPr/>
    </dgm:pt>
    <dgm:pt modelId="{3F27CC78-5E98-473E-9CD1-539F3E71B9A6}" type="pres">
      <dgm:prSet presAssocID="{92EA9330-F7F8-49AF-B3E6-42AE2152E268}" presName="invisiNode" presStyleLbl="node1" presStyleIdx="4" presStyleCnt="7"/>
      <dgm:spPr/>
    </dgm:pt>
    <dgm:pt modelId="{849EB56D-61FF-448F-B394-A36EDE90646A}" type="pres">
      <dgm:prSet presAssocID="{92EA9330-F7F8-49AF-B3E6-42AE2152E268}" presName="imagNode" presStyleLbl="fgImgPlace1" presStyleIdx="4" presStyleCnt="7" custScaleX="92606" custScaleY="61847"/>
      <dgm:spPr>
        <a:blipFill rotWithShape="1">
          <a:blip xmlns:r="http://schemas.openxmlformats.org/officeDocument/2006/relationships" r:embed="rId5"/>
          <a:stretch>
            <a:fillRect/>
          </a:stretch>
        </a:blipFill>
      </dgm:spPr>
    </dgm:pt>
    <dgm:pt modelId="{6F6A29E1-319A-4D29-818E-3D6E4931E5B3}" type="pres">
      <dgm:prSet presAssocID="{5B8C21A9-E395-4891-AB82-9EFD05168396}" presName="sibTrans" presStyleLbl="sibTrans2D1" presStyleIdx="0" presStyleCnt="0"/>
      <dgm:spPr/>
    </dgm:pt>
    <dgm:pt modelId="{0CB1BC07-21D0-4AD5-B42F-10A6558EBA0D}" type="pres">
      <dgm:prSet presAssocID="{511EFEAC-4FAB-4F47-A785-3BCC008182EA}" presName="compNode" presStyleCnt="0"/>
      <dgm:spPr/>
    </dgm:pt>
    <dgm:pt modelId="{AD317464-009C-41C3-9311-2056563704C2}" type="pres">
      <dgm:prSet presAssocID="{511EFEAC-4FAB-4F47-A785-3BCC008182EA}" presName="bkgdShape" presStyleLbl="node1" presStyleIdx="5" presStyleCnt="7"/>
      <dgm:spPr/>
    </dgm:pt>
    <dgm:pt modelId="{3440DF3E-20D3-4CA6-9870-D9EE16664385}" type="pres">
      <dgm:prSet presAssocID="{511EFEAC-4FAB-4F47-A785-3BCC008182EA}" presName="nodeTx" presStyleLbl="node1" presStyleIdx="5" presStyleCnt="7">
        <dgm:presLayoutVars>
          <dgm:bulletEnabled val="1"/>
        </dgm:presLayoutVars>
      </dgm:prSet>
      <dgm:spPr/>
    </dgm:pt>
    <dgm:pt modelId="{80D330EC-261E-41C7-A1D7-E05C98B1AD95}" type="pres">
      <dgm:prSet presAssocID="{511EFEAC-4FAB-4F47-A785-3BCC008182EA}" presName="invisiNode" presStyleLbl="node1" presStyleIdx="5" presStyleCnt="7"/>
      <dgm:spPr/>
    </dgm:pt>
    <dgm:pt modelId="{1404F393-F8AE-489F-8183-D9A16BD96D30}" type="pres">
      <dgm:prSet presAssocID="{511EFEAC-4FAB-4F47-A785-3BCC008182EA}" presName="imagNode" presStyleLbl="fgImgPlace1" presStyleIdx="5" presStyleCnt="7" custScaleX="92606" custScaleY="61847"/>
      <dgm:spPr>
        <a:blipFill rotWithShape="1">
          <a:blip xmlns:r="http://schemas.openxmlformats.org/officeDocument/2006/relationships" r:embed="rId6"/>
          <a:stretch>
            <a:fillRect/>
          </a:stretch>
        </a:blipFill>
      </dgm:spPr>
    </dgm:pt>
    <dgm:pt modelId="{268FEC79-70AB-4B8C-8800-A26F42B239F3}" type="pres">
      <dgm:prSet presAssocID="{D6E5C810-8319-4E76-8686-1383F2F23FE4}" presName="sibTrans" presStyleLbl="sibTrans2D1" presStyleIdx="0" presStyleCnt="0"/>
      <dgm:spPr/>
    </dgm:pt>
    <dgm:pt modelId="{9A84231A-9D62-482B-A956-DCA403C28DF0}" type="pres">
      <dgm:prSet presAssocID="{A3191F40-7030-4F0F-8148-DB0DFD48D86D}" presName="compNode" presStyleCnt="0"/>
      <dgm:spPr/>
    </dgm:pt>
    <dgm:pt modelId="{742E179B-94F2-4160-8940-1DFD35A0F226}" type="pres">
      <dgm:prSet presAssocID="{A3191F40-7030-4F0F-8148-DB0DFD48D86D}" presName="bkgdShape" presStyleLbl="node1" presStyleIdx="6" presStyleCnt="7"/>
      <dgm:spPr/>
    </dgm:pt>
    <dgm:pt modelId="{F49A3214-E557-4F64-8623-4FE558C003F8}" type="pres">
      <dgm:prSet presAssocID="{A3191F40-7030-4F0F-8148-DB0DFD48D86D}" presName="nodeTx" presStyleLbl="node1" presStyleIdx="6" presStyleCnt="7">
        <dgm:presLayoutVars>
          <dgm:bulletEnabled val="1"/>
        </dgm:presLayoutVars>
      </dgm:prSet>
      <dgm:spPr/>
    </dgm:pt>
    <dgm:pt modelId="{E2E24951-B8C2-4B43-A7C2-E42378BA4BC0}" type="pres">
      <dgm:prSet presAssocID="{A3191F40-7030-4F0F-8148-DB0DFD48D86D}" presName="invisiNode" presStyleLbl="node1" presStyleIdx="6" presStyleCnt="7"/>
      <dgm:spPr/>
    </dgm:pt>
    <dgm:pt modelId="{1D86A457-1D18-4D36-B685-2CAB9600A7B4}" type="pres">
      <dgm:prSet presAssocID="{A3191F40-7030-4F0F-8148-DB0DFD48D86D}" presName="imagNode" presStyleLbl="fgImgPlace1" presStyleIdx="6" presStyleCnt="7" custScaleX="92606" custScaleY="61847"/>
      <dgm:spPr>
        <a:blipFill rotWithShape="1">
          <a:blip xmlns:r="http://schemas.openxmlformats.org/officeDocument/2006/relationships" r:embed="rId7"/>
          <a:stretch>
            <a:fillRect/>
          </a:stretch>
        </a:blipFill>
      </dgm:spPr>
    </dgm:pt>
  </dgm:ptLst>
  <dgm:cxnLst>
    <dgm:cxn modelId="{82A31003-DBC2-49C6-8B7C-EC76F149D6F1}" type="presOf" srcId="{808545C8-807C-45CE-926D-E08331563D3B}" destId="{C1BAC4EB-14FE-41D0-9150-52CF1600300B}" srcOrd="0" destOrd="0" presId="urn:microsoft.com/office/officeart/2005/8/layout/hList7"/>
    <dgm:cxn modelId="{2E6F2113-73ED-462D-8825-83809093D516}" type="presOf" srcId="{808545C8-807C-45CE-926D-E08331563D3B}" destId="{DAE05C80-7766-48DE-8B77-9CE2DEAE022F}" srcOrd="1" destOrd="0" presId="urn:microsoft.com/office/officeart/2005/8/layout/hList7"/>
    <dgm:cxn modelId="{E4D0011E-5239-4989-BB67-422FFF1CBDFA}" type="presOf" srcId="{A3191F40-7030-4F0F-8148-DB0DFD48D86D}" destId="{742E179B-94F2-4160-8940-1DFD35A0F226}" srcOrd="0" destOrd="0" presId="urn:microsoft.com/office/officeart/2005/8/layout/hList7"/>
    <dgm:cxn modelId="{9FFA671F-8F74-4DDF-B07D-BB9000EC7969}" type="presOf" srcId="{92EA9330-F7F8-49AF-B3E6-42AE2152E268}" destId="{40D1D6A1-36E2-4937-B42A-DDE743A495B9}" srcOrd="1" destOrd="0" presId="urn:microsoft.com/office/officeart/2005/8/layout/hList7"/>
    <dgm:cxn modelId="{5B181D33-510B-4725-B745-CC49A92FE971}" type="presOf" srcId="{92EA9330-F7F8-49AF-B3E6-42AE2152E268}" destId="{1A8B3CFF-B1A0-4679-9052-0CA19FCFAFE9}" srcOrd="0" destOrd="0" presId="urn:microsoft.com/office/officeart/2005/8/layout/hList7"/>
    <dgm:cxn modelId="{2570A639-3765-4537-A47F-995B76F39078}" type="presOf" srcId="{59057FDE-08BA-4F50-B798-C9B3BFE84A3B}" destId="{C97BA280-EFBD-4635-B43A-15BDB07C2362}" srcOrd="0" destOrd="0" presId="urn:microsoft.com/office/officeart/2005/8/layout/hList7"/>
    <dgm:cxn modelId="{B481965D-0992-458B-8E24-4E327D16630B}" type="presOf" srcId="{DBD6DE41-5A43-495F-8035-DE068E71E28E}" destId="{FA24C63E-DB4F-4FE2-9E99-6EE548C57B02}" srcOrd="0" destOrd="0" presId="urn:microsoft.com/office/officeart/2005/8/layout/hList7"/>
    <dgm:cxn modelId="{3A694649-4FD6-46B1-AAEB-078FCCDEEDA7}" srcId="{59057FDE-08BA-4F50-B798-C9B3BFE84A3B}" destId="{998935E9-CA13-4BE1-B081-17399D521F7F}" srcOrd="1" destOrd="0" parTransId="{E7918F0E-7316-4EB5-A832-F52E203A40FB}" sibTransId="{2D6D5395-1743-40BD-B47A-967F712A09A0}"/>
    <dgm:cxn modelId="{2A968551-CEBF-4061-A1FC-6D84D6FB0618}" srcId="{59057FDE-08BA-4F50-B798-C9B3BFE84A3B}" destId="{4AF1A847-51E0-45A5-B2B9-86FD2585FD3C}" srcOrd="0" destOrd="0" parTransId="{B9AD9D44-BAAB-4C33-B40F-F61ACACBBD01}" sibTransId="{995CD6E0-DF5D-4317-BA87-3BF2128433B6}"/>
    <dgm:cxn modelId="{1CD5F772-7A46-4E13-9B6E-CF1580B210BF}" srcId="{59057FDE-08BA-4F50-B798-C9B3BFE84A3B}" destId="{52C27555-1068-4271-9923-6B72585E8B81}" srcOrd="2" destOrd="0" parTransId="{9F39A2CC-C5BB-4C8B-9662-06951FB18916}" sibTransId="{5118D5DF-3883-4242-A3F6-E8AAC80AD8FE}"/>
    <dgm:cxn modelId="{3DFBDD82-5EFD-48ED-B052-601258C6EA12}" type="presOf" srcId="{998935E9-CA13-4BE1-B081-17399D521F7F}" destId="{36C48E6F-9C3B-4291-A017-705BBDA2BAA5}" srcOrd="1" destOrd="0" presId="urn:microsoft.com/office/officeart/2005/8/layout/hList7"/>
    <dgm:cxn modelId="{89940D84-E72E-4FA3-9974-44282C95170F}" type="presOf" srcId="{511EFEAC-4FAB-4F47-A785-3BCC008182EA}" destId="{AD317464-009C-41C3-9311-2056563704C2}" srcOrd="0" destOrd="0" presId="urn:microsoft.com/office/officeart/2005/8/layout/hList7"/>
    <dgm:cxn modelId="{644F3285-A302-4FDA-A260-94C7A6EBC796}" type="presOf" srcId="{511EFEAC-4FAB-4F47-A785-3BCC008182EA}" destId="{3440DF3E-20D3-4CA6-9870-D9EE16664385}" srcOrd="1" destOrd="0" presId="urn:microsoft.com/office/officeart/2005/8/layout/hList7"/>
    <dgm:cxn modelId="{509A529C-3C10-465B-9DD5-6A8839227C53}" srcId="{59057FDE-08BA-4F50-B798-C9B3BFE84A3B}" destId="{511EFEAC-4FAB-4F47-A785-3BCC008182EA}" srcOrd="5" destOrd="0" parTransId="{911ABB6A-1D3A-4CFC-AFEF-9BB2F8F86F20}" sibTransId="{D6E5C810-8319-4E76-8686-1383F2F23FE4}"/>
    <dgm:cxn modelId="{8DFE809D-7E1A-4B4C-9FEE-252F5BBDBAA8}" type="presOf" srcId="{2D6D5395-1743-40BD-B47A-967F712A09A0}" destId="{26208A77-DCD9-4EF3-B7E4-813464B20756}" srcOrd="0" destOrd="0" presId="urn:microsoft.com/office/officeart/2005/8/layout/hList7"/>
    <dgm:cxn modelId="{6A8C4CAA-1790-427A-BFD0-3B735C75DC0F}" srcId="{59057FDE-08BA-4F50-B798-C9B3BFE84A3B}" destId="{A3191F40-7030-4F0F-8148-DB0DFD48D86D}" srcOrd="6" destOrd="0" parTransId="{AC7E750F-223F-46AE-B23D-9DD172739AE0}" sibTransId="{EE3B81DB-9601-4AFF-95E0-73EB50ECBB3A}"/>
    <dgm:cxn modelId="{3140BEAC-C91C-47D0-8692-24DAF98541DC}" type="presOf" srcId="{52C27555-1068-4271-9923-6B72585E8B81}" destId="{F5DDE210-81D4-4BD8-8B01-F02871C021BF}" srcOrd="1" destOrd="0" presId="urn:microsoft.com/office/officeart/2005/8/layout/hList7"/>
    <dgm:cxn modelId="{D6C5F0B6-C73A-44CA-85C7-7702F70F42E9}" type="presOf" srcId="{52C27555-1068-4271-9923-6B72585E8B81}" destId="{806BBFBF-8F13-4C56-8D2A-0AD247A47F76}" srcOrd="0" destOrd="0" presId="urn:microsoft.com/office/officeart/2005/8/layout/hList7"/>
    <dgm:cxn modelId="{255C1ABB-407F-4A94-8D84-1ABDC723C2A7}" type="presOf" srcId="{D6E5C810-8319-4E76-8686-1383F2F23FE4}" destId="{268FEC79-70AB-4B8C-8800-A26F42B239F3}" srcOrd="0" destOrd="0" presId="urn:microsoft.com/office/officeart/2005/8/layout/hList7"/>
    <dgm:cxn modelId="{4E3508C0-3B89-4367-B215-BB921C5EEB99}" type="presOf" srcId="{5B8C21A9-E395-4891-AB82-9EFD05168396}" destId="{6F6A29E1-319A-4D29-818E-3D6E4931E5B3}" srcOrd="0" destOrd="0" presId="urn:microsoft.com/office/officeart/2005/8/layout/hList7"/>
    <dgm:cxn modelId="{B5C4C1C0-B29B-44B2-8CD1-06AA5FB5B92F}" type="presOf" srcId="{4AF1A847-51E0-45A5-B2B9-86FD2585FD3C}" destId="{A6DE1C6A-F3E9-4878-9DCB-525AE967120A}" srcOrd="0" destOrd="0" presId="urn:microsoft.com/office/officeart/2005/8/layout/hList7"/>
    <dgm:cxn modelId="{BE6C1DC1-28EF-4641-AE2C-C8F1C022FAF4}" type="presOf" srcId="{A3191F40-7030-4F0F-8148-DB0DFD48D86D}" destId="{F49A3214-E557-4F64-8623-4FE558C003F8}" srcOrd="1" destOrd="0" presId="urn:microsoft.com/office/officeart/2005/8/layout/hList7"/>
    <dgm:cxn modelId="{EE8CD9CB-E8CD-4631-83B3-B934CE0F0DE6}" srcId="{59057FDE-08BA-4F50-B798-C9B3BFE84A3B}" destId="{92EA9330-F7F8-49AF-B3E6-42AE2152E268}" srcOrd="4" destOrd="0" parTransId="{BE640D54-8441-462E-A1B3-34A148778069}" sibTransId="{5B8C21A9-E395-4891-AB82-9EFD05168396}"/>
    <dgm:cxn modelId="{8E3EA5D6-90E0-4D99-84CA-D10C0BF78972}" srcId="{59057FDE-08BA-4F50-B798-C9B3BFE84A3B}" destId="{808545C8-807C-45CE-926D-E08331563D3B}" srcOrd="3" destOrd="0" parTransId="{908D8121-7A15-4020-9A57-413912A02A55}" sibTransId="{DBD6DE41-5A43-495F-8035-DE068E71E28E}"/>
    <dgm:cxn modelId="{25854DD9-E1D4-49AD-8157-08833961A3B4}" type="presOf" srcId="{5118D5DF-3883-4242-A3F6-E8AAC80AD8FE}" destId="{546CFC6B-98F6-4A61-89C9-8F6AF3BECB10}" srcOrd="0" destOrd="0" presId="urn:microsoft.com/office/officeart/2005/8/layout/hList7"/>
    <dgm:cxn modelId="{D62D21E7-C5F1-4F75-AF46-8D2B60691D63}" type="presOf" srcId="{998935E9-CA13-4BE1-B081-17399D521F7F}" destId="{C161FC3C-6DFA-4579-8905-8B3223B246F3}" srcOrd="0" destOrd="0" presId="urn:microsoft.com/office/officeart/2005/8/layout/hList7"/>
    <dgm:cxn modelId="{533FBAF6-D943-4C8C-A03A-27159934A0EE}" type="presOf" srcId="{995CD6E0-DF5D-4317-BA87-3BF2128433B6}" destId="{C838995F-5349-448D-8EC3-B85C7E2C648F}" srcOrd="0" destOrd="0" presId="urn:microsoft.com/office/officeart/2005/8/layout/hList7"/>
    <dgm:cxn modelId="{7D0712F7-3DD1-44E1-90D4-A8D642111550}" type="presOf" srcId="{4AF1A847-51E0-45A5-B2B9-86FD2585FD3C}" destId="{64B4F667-54FB-4815-8729-DA28D0C619B6}" srcOrd="1" destOrd="0" presId="urn:microsoft.com/office/officeart/2005/8/layout/hList7"/>
    <dgm:cxn modelId="{10149BF6-E46D-49D0-BEE4-585C429043A5}" type="presParOf" srcId="{C97BA280-EFBD-4635-B43A-15BDB07C2362}" destId="{2500A0E4-C663-4331-BB73-F2252FF02FA8}" srcOrd="0" destOrd="0" presId="urn:microsoft.com/office/officeart/2005/8/layout/hList7"/>
    <dgm:cxn modelId="{6D0154C2-8EEF-4878-B9E1-AE87FFB40344}" type="presParOf" srcId="{C97BA280-EFBD-4635-B43A-15BDB07C2362}" destId="{5C8D7C64-FCFB-4EDF-A34A-83C77074B207}" srcOrd="1" destOrd="0" presId="urn:microsoft.com/office/officeart/2005/8/layout/hList7"/>
    <dgm:cxn modelId="{2082C7F3-AD09-421E-9487-6BB29A5516B3}" type="presParOf" srcId="{5C8D7C64-FCFB-4EDF-A34A-83C77074B207}" destId="{6D42FEAB-FE1E-4691-99EF-3095438FEDCB}" srcOrd="0" destOrd="0" presId="urn:microsoft.com/office/officeart/2005/8/layout/hList7"/>
    <dgm:cxn modelId="{3930191E-257D-4E82-8832-ACF6931E5A5A}" type="presParOf" srcId="{6D42FEAB-FE1E-4691-99EF-3095438FEDCB}" destId="{A6DE1C6A-F3E9-4878-9DCB-525AE967120A}" srcOrd="0" destOrd="0" presId="urn:microsoft.com/office/officeart/2005/8/layout/hList7"/>
    <dgm:cxn modelId="{1A4EE649-5C44-4F71-B55D-6E8EA59D0DB3}" type="presParOf" srcId="{6D42FEAB-FE1E-4691-99EF-3095438FEDCB}" destId="{64B4F667-54FB-4815-8729-DA28D0C619B6}" srcOrd="1" destOrd="0" presId="urn:microsoft.com/office/officeart/2005/8/layout/hList7"/>
    <dgm:cxn modelId="{2D297DBD-76DA-4118-9063-48AE5B005E22}" type="presParOf" srcId="{6D42FEAB-FE1E-4691-99EF-3095438FEDCB}" destId="{6EE2B96C-9E20-49F0-BAF0-225C9D216345}" srcOrd="2" destOrd="0" presId="urn:microsoft.com/office/officeart/2005/8/layout/hList7"/>
    <dgm:cxn modelId="{70D8EFA9-07CD-4946-924C-C2D766675364}" type="presParOf" srcId="{6D42FEAB-FE1E-4691-99EF-3095438FEDCB}" destId="{498E6E9D-5D38-4849-8C1E-038195ED813A}" srcOrd="3" destOrd="0" presId="urn:microsoft.com/office/officeart/2005/8/layout/hList7"/>
    <dgm:cxn modelId="{78BA3F59-2B9E-4B81-91BE-65768E7DEBFB}" type="presParOf" srcId="{5C8D7C64-FCFB-4EDF-A34A-83C77074B207}" destId="{C838995F-5349-448D-8EC3-B85C7E2C648F}" srcOrd="1" destOrd="0" presId="urn:microsoft.com/office/officeart/2005/8/layout/hList7"/>
    <dgm:cxn modelId="{47D0B844-C846-4D14-B3AA-2BDBB837A4B5}" type="presParOf" srcId="{5C8D7C64-FCFB-4EDF-A34A-83C77074B207}" destId="{019E05C5-CBBF-4B07-A8F0-84BBB5ABD880}" srcOrd="2" destOrd="0" presId="urn:microsoft.com/office/officeart/2005/8/layout/hList7"/>
    <dgm:cxn modelId="{80809792-8F4D-4EE5-870D-40BC7723DD95}" type="presParOf" srcId="{019E05C5-CBBF-4B07-A8F0-84BBB5ABD880}" destId="{C161FC3C-6DFA-4579-8905-8B3223B246F3}" srcOrd="0" destOrd="0" presId="urn:microsoft.com/office/officeart/2005/8/layout/hList7"/>
    <dgm:cxn modelId="{D3A3B3AC-E55E-4FBE-A17E-50CD3E7661EE}" type="presParOf" srcId="{019E05C5-CBBF-4B07-A8F0-84BBB5ABD880}" destId="{36C48E6F-9C3B-4291-A017-705BBDA2BAA5}" srcOrd="1" destOrd="0" presId="urn:microsoft.com/office/officeart/2005/8/layout/hList7"/>
    <dgm:cxn modelId="{71B57712-8FF5-4D34-93B8-84A106EC9768}" type="presParOf" srcId="{019E05C5-CBBF-4B07-A8F0-84BBB5ABD880}" destId="{ECA6D7DE-0E0C-447E-BCC8-664A51BC63B1}" srcOrd="2" destOrd="0" presId="urn:microsoft.com/office/officeart/2005/8/layout/hList7"/>
    <dgm:cxn modelId="{81437B61-1DF1-42B1-B09C-67F8D43969B2}" type="presParOf" srcId="{019E05C5-CBBF-4B07-A8F0-84BBB5ABD880}" destId="{4A042F69-76AD-4DA9-8B41-8525EE50ADA8}" srcOrd="3" destOrd="0" presId="urn:microsoft.com/office/officeart/2005/8/layout/hList7"/>
    <dgm:cxn modelId="{6A89FCAA-F15E-4F41-9E54-0083F0EF0D2A}" type="presParOf" srcId="{5C8D7C64-FCFB-4EDF-A34A-83C77074B207}" destId="{26208A77-DCD9-4EF3-B7E4-813464B20756}" srcOrd="3" destOrd="0" presId="urn:microsoft.com/office/officeart/2005/8/layout/hList7"/>
    <dgm:cxn modelId="{BF984DA1-956B-4C7F-B3AA-1B94F7D9F5B5}" type="presParOf" srcId="{5C8D7C64-FCFB-4EDF-A34A-83C77074B207}" destId="{02519C98-59C2-4E1F-ABB0-88FBCEA98617}" srcOrd="4" destOrd="0" presId="urn:microsoft.com/office/officeart/2005/8/layout/hList7"/>
    <dgm:cxn modelId="{7089CC9E-369D-4FDD-8E05-BC8649AE02EE}" type="presParOf" srcId="{02519C98-59C2-4E1F-ABB0-88FBCEA98617}" destId="{806BBFBF-8F13-4C56-8D2A-0AD247A47F76}" srcOrd="0" destOrd="0" presId="urn:microsoft.com/office/officeart/2005/8/layout/hList7"/>
    <dgm:cxn modelId="{989576B5-2058-40A5-AC1D-D4C433E28BB3}" type="presParOf" srcId="{02519C98-59C2-4E1F-ABB0-88FBCEA98617}" destId="{F5DDE210-81D4-4BD8-8B01-F02871C021BF}" srcOrd="1" destOrd="0" presId="urn:microsoft.com/office/officeart/2005/8/layout/hList7"/>
    <dgm:cxn modelId="{254B400B-4A11-496E-A84C-0DB7EAF7FD07}" type="presParOf" srcId="{02519C98-59C2-4E1F-ABB0-88FBCEA98617}" destId="{736907ED-F33F-4109-AB53-CDB5461D719A}" srcOrd="2" destOrd="0" presId="urn:microsoft.com/office/officeart/2005/8/layout/hList7"/>
    <dgm:cxn modelId="{C63445DE-4777-4F97-B5CC-A185B1FEF279}" type="presParOf" srcId="{02519C98-59C2-4E1F-ABB0-88FBCEA98617}" destId="{844642B7-DB6D-480F-A230-D86F3BA7F8E1}" srcOrd="3" destOrd="0" presId="urn:microsoft.com/office/officeart/2005/8/layout/hList7"/>
    <dgm:cxn modelId="{0400A292-FCF1-467B-BCC8-2FA0AFC860D7}" type="presParOf" srcId="{5C8D7C64-FCFB-4EDF-A34A-83C77074B207}" destId="{546CFC6B-98F6-4A61-89C9-8F6AF3BECB10}" srcOrd="5" destOrd="0" presId="urn:microsoft.com/office/officeart/2005/8/layout/hList7"/>
    <dgm:cxn modelId="{B9B61BC2-D8DD-419F-957B-30B155D136AA}" type="presParOf" srcId="{5C8D7C64-FCFB-4EDF-A34A-83C77074B207}" destId="{BCABC14F-17D6-433A-BE71-0AA0BA35E272}" srcOrd="6" destOrd="0" presId="urn:microsoft.com/office/officeart/2005/8/layout/hList7"/>
    <dgm:cxn modelId="{A0BD09EB-9151-44A6-A6FE-B33166C4A520}" type="presParOf" srcId="{BCABC14F-17D6-433A-BE71-0AA0BA35E272}" destId="{C1BAC4EB-14FE-41D0-9150-52CF1600300B}" srcOrd="0" destOrd="0" presId="urn:microsoft.com/office/officeart/2005/8/layout/hList7"/>
    <dgm:cxn modelId="{5252EB51-06DB-4645-A0A4-74E21A3F60AB}" type="presParOf" srcId="{BCABC14F-17D6-433A-BE71-0AA0BA35E272}" destId="{DAE05C80-7766-48DE-8B77-9CE2DEAE022F}" srcOrd="1" destOrd="0" presId="urn:microsoft.com/office/officeart/2005/8/layout/hList7"/>
    <dgm:cxn modelId="{549A4138-EF39-4DA5-922C-DC469E90DA1A}" type="presParOf" srcId="{BCABC14F-17D6-433A-BE71-0AA0BA35E272}" destId="{6E744374-D6B3-4FD2-83B7-81D3B4AB47AF}" srcOrd="2" destOrd="0" presId="urn:microsoft.com/office/officeart/2005/8/layout/hList7"/>
    <dgm:cxn modelId="{1121C6E3-81A8-4E98-BD52-14E8C06422D0}" type="presParOf" srcId="{BCABC14F-17D6-433A-BE71-0AA0BA35E272}" destId="{16749705-BA5E-429B-A82D-0370F194B488}" srcOrd="3" destOrd="0" presId="urn:microsoft.com/office/officeart/2005/8/layout/hList7"/>
    <dgm:cxn modelId="{D58FD1F3-22B6-415B-A6C8-10A9275A05B9}" type="presParOf" srcId="{5C8D7C64-FCFB-4EDF-A34A-83C77074B207}" destId="{FA24C63E-DB4F-4FE2-9E99-6EE548C57B02}" srcOrd="7" destOrd="0" presId="urn:microsoft.com/office/officeart/2005/8/layout/hList7"/>
    <dgm:cxn modelId="{C2F90AD9-EF51-49E3-B120-0862E63F314E}" type="presParOf" srcId="{5C8D7C64-FCFB-4EDF-A34A-83C77074B207}" destId="{55ED4DF0-58F6-48B1-B979-B8BD203874FC}" srcOrd="8" destOrd="0" presId="urn:microsoft.com/office/officeart/2005/8/layout/hList7"/>
    <dgm:cxn modelId="{B8D80411-4D65-4F83-AF39-5B44CC7E6B79}" type="presParOf" srcId="{55ED4DF0-58F6-48B1-B979-B8BD203874FC}" destId="{1A8B3CFF-B1A0-4679-9052-0CA19FCFAFE9}" srcOrd="0" destOrd="0" presId="urn:microsoft.com/office/officeart/2005/8/layout/hList7"/>
    <dgm:cxn modelId="{01092E21-AD46-4992-9C24-21BD45D330FF}" type="presParOf" srcId="{55ED4DF0-58F6-48B1-B979-B8BD203874FC}" destId="{40D1D6A1-36E2-4937-B42A-DDE743A495B9}" srcOrd="1" destOrd="0" presId="urn:microsoft.com/office/officeart/2005/8/layout/hList7"/>
    <dgm:cxn modelId="{CEF05BA4-6169-45B3-A207-FFF984B38DAA}" type="presParOf" srcId="{55ED4DF0-58F6-48B1-B979-B8BD203874FC}" destId="{3F27CC78-5E98-473E-9CD1-539F3E71B9A6}" srcOrd="2" destOrd="0" presId="urn:microsoft.com/office/officeart/2005/8/layout/hList7"/>
    <dgm:cxn modelId="{1B71146C-E424-45F4-9FB9-101A159AD8E7}" type="presParOf" srcId="{55ED4DF0-58F6-48B1-B979-B8BD203874FC}" destId="{849EB56D-61FF-448F-B394-A36EDE90646A}" srcOrd="3" destOrd="0" presId="urn:microsoft.com/office/officeart/2005/8/layout/hList7"/>
    <dgm:cxn modelId="{5A8AED60-AA13-438E-AC72-79657E54C205}" type="presParOf" srcId="{5C8D7C64-FCFB-4EDF-A34A-83C77074B207}" destId="{6F6A29E1-319A-4D29-818E-3D6E4931E5B3}" srcOrd="9" destOrd="0" presId="urn:microsoft.com/office/officeart/2005/8/layout/hList7"/>
    <dgm:cxn modelId="{6DADEAE2-C7CA-4122-93CA-4DA7A3B5373B}" type="presParOf" srcId="{5C8D7C64-FCFB-4EDF-A34A-83C77074B207}" destId="{0CB1BC07-21D0-4AD5-B42F-10A6558EBA0D}" srcOrd="10" destOrd="0" presId="urn:microsoft.com/office/officeart/2005/8/layout/hList7"/>
    <dgm:cxn modelId="{0073655A-81FD-413A-87ED-6AD659F5FB0E}" type="presParOf" srcId="{0CB1BC07-21D0-4AD5-B42F-10A6558EBA0D}" destId="{AD317464-009C-41C3-9311-2056563704C2}" srcOrd="0" destOrd="0" presId="urn:microsoft.com/office/officeart/2005/8/layout/hList7"/>
    <dgm:cxn modelId="{AE4371EC-6486-4F9A-9CB0-D2F77261144F}" type="presParOf" srcId="{0CB1BC07-21D0-4AD5-B42F-10A6558EBA0D}" destId="{3440DF3E-20D3-4CA6-9870-D9EE16664385}" srcOrd="1" destOrd="0" presId="urn:microsoft.com/office/officeart/2005/8/layout/hList7"/>
    <dgm:cxn modelId="{E6784474-0B6E-4F8D-94F0-732E47E761D5}" type="presParOf" srcId="{0CB1BC07-21D0-4AD5-B42F-10A6558EBA0D}" destId="{80D330EC-261E-41C7-A1D7-E05C98B1AD95}" srcOrd="2" destOrd="0" presId="urn:microsoft.com/office/officeart/2005/8/layout/hList7"/>
    <dgm:cxn modelId="{431BCADC-5C56-4BF9-A757-5045B9272E9A}" type="presParOf" srcId="{0CB1BC07-21D0-4AD5-B42F-10A6558EBA0D}" destId="{1404F393-F8AE-489F-8183-D9A16BD96D30}" srcOrd="3" destOrd="0" presId="urn:microsoft.com/office/officeart/2005/8/layout/hList7"/>
    <dgm:cxn modelId="{5544FD3E-B5B8-4CC9-8C5D-B85762D3B70F}" type="presParOf" srcId="{5C8D7C64-FCFB-4EDF-A34A-83C77074B207}" destId="{268FEC79-70AB-4B8C-8800-A26F42B239F3}" srcOrd="11" destOrd="0" presId="urn:microsoft.com/office/officeart/2005/8/layout/hList7"/>
    <dgm:cxn modelId="{746DBFD7-2A03-4556-A778-E12FFF6A2690}" type="presParOf" srcId="{5C8D7C64-FCFB-4EDF-A34A-83C77074B207}" destId="{9A84231A-9D62-482B-A956-DCA403C28DF0}" srcOrd="12" destOrd="0" presId="urn:microsoft.com/office/officeart/2005/8/layout/hList7"/>
    <dgm:cxn modelId="{3BA7BA48-774C-42EC-B340-1102590756A6}" type="presParOf" srcId="{9A84231A-9D62-482B-A956-DCA403C28DF0}" destId="{742E179B-94F2-4160-8940-1DFD35A0F226}" srcOrd="0" destOrd="0" presId="urn:microsoft.com/office/officeart/2005/8/layout/hList7"/>
    <dgm:cxn modelId="{9C0906D4-0735-45F6-8728-61198103AE44}" type="presParOf" srcId="{9A84231A-9D62-482B-A956-DCA403C28DF0}" destId="{F49A3214-E557-4F64-8623-4FE558C003F8}" srcOrd="1" destOrd="0" presId="urn:microsoft.com/office/officeart/2005/8/layout/hList7"/>
    <dgm:cxn modelId="{9263E409-D799-4DED-AE94-93AE90634A74}" type="presParOf" srcId="{9A84231A-9D62-482B-A956-DCA403C28DF0}" destId="{E2E24951-B8C2-4B43-A7C2-E42378BA4BC0}" srcOrd="2" destOrd="0" presId="urn:microsoft.com/office/officeart/2005/8/layout/hList7"/>
    <dgm:cxn modelId="{091E1E01-B6AB-40C0-AFE1-7A09C55AB4E0}" type="presParOf" srcId="{9A84231A-9D62-482B-A956-DCA403C28DF0}" destId="{1D86A457-1D18-4D36-B685-2CAB9600A7B4}" srcOrd="3" destOrd="0" presId="urn:microsoft.com/office/officeart/2005/8/layout/hList7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817FC5A-CCC1-4ED1-91BD-5C229DF60C5F}">
      <dsp:nvSpPr>
        <dsp:cNvPr id="0" name=""/>
        <dsp:cNvSpPr/>
      </dsp:nvSpPr>
      <dsp:spPr>
        <a:xfrm rot="16200000">
          <a:off x="358228" y="-348965"/>
          <a:ext cx="2090888" cy="2807344"/>
        </a:xfrm>
        <a:prstGeom prst="round1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600" kern="1200" dirty="0"/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/>
            <a:t>Target Areas: ICU, RESP WARDS, HDU, RESP Physios, procurement </a:t>
          </a:r>
        </a:p>
      </dsp:txBody>
      <dsp:txXfrm rot="5400000">
        <a:off x="0" y="9263"/>
        <a:ext cx="2807344" cy="1568166"/>
      </dsp:txXfrm>
    </dsp:sp>
    <dsp:sp modelId="{051D3773-929C-4A38-B908-3E04F4FBECF2}">
      <dsp:nvSpPr>
        <dsp:cNvPr id="0" name=""/>
        <dsp:cNvSpPr/>
      </dsp:nvSpPr>
      <dsp:spPr>
        <a:xfrm>
          <a:off x="2807344" y="0"/>
          <a:ext cx="2807344" cy="2090888"/>
        </a:xfrm>
        <a:prstGeom prst="round1Rect">
          <a:avLst/>
        </a:prstGeom>
        <a:solidFill>
          <a:schemeClr val="accent2">
            <a:shade val="80000"/>
            <a:hueOff val="159161"/>
            <a:satOff val="-7987"/>
            <a:lumOff val="1159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/>
            <a:t>Multiple means of communication, phone, email, sample packs, lunch meetings, audit/study days</a:t>
          </a:r>
        </a:p>
      </dsp:txBody>
      <dsp:txXfrm>
        <a:off x="2807344" y="0"/>
        <a:ext cx="2807344" cy="1568166"/>
      </dsp:txXfrm>
    </dsp:sp>
    <dsp:sp modelId="{64EDE969-84A9-44C8-8D76-5E9F1ED1E94F}">
      <dsp:nvSpPr>
        <dsp:cNvPr id="0" name=""/>
        <dsp:cNvSpPr/>
      </dsp:nvSpPr>
      <dsp:spPr>
        <a:xfrm rot="10800000">
          <a:off x="0" y="2090888"/>
          <a:ext cx="2807344" cy="2090888"/>
        </a:xfrm>
        <a:prstGeom prst="round1Rect">
          <a:avLst/>
        </a:prstGeom>
        <a:solidFill>
          <a:schemeClr val="accent2">
            <a:shade val="80000"/>
            <a:hueOff val="318323"/>
            <a:satOff val="-15973"/>
            <a:lumOff val="2319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/>
            <a:t>Sales pitch – be aggressive 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/>
            <a:t>Focus on features and benefits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600" kern="1200" dirty="0"/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600" kern="1200" dirty="0"/>
        </a:p>
      </dsp:txBody>
      <dsp:txXfrm rot="10800000">
        <a:off x="0" y="2613610"/>
        <a:ext cx="2807344" cy="1568166"/>
      </dsp:txXfrm>
    </dsp:sp>
    <dsp:sp modelId="{12899D2C-89C6-493D-A063-0FF879098CAF}">
      <dsp:nvSpPr>
        <dsp:cNvPr id="0" name=""/>
        <dsp:cNvSpPr/>
      </dsp:nvSpPr>
      <dsp:spPr>
        <a:xfrm rot="5400000">
          <a:off x="3165572" y="1732659"/>
          <a:ext cx="2090888" cy="2807344"/>
        </a:xfrm>
        <a:prstGeom prst="round1Rect">
          <a:avLst/>
        </a:prstGeom>
        <a:solidFill>
          <a:schemeClr val="accent2">
            <a:shade val="80000"/>
            <a:hueOff val="477484"/>
            <a:satOff val="-23960"/>
            <a:lumOff val="3479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/>
            <a:t>Price – we are extremely competitive compared to other brands in the field</a:t>
          </a:r>
        </a:p>
      </dsp:txBody>
      <dsp:txXfrm rot="-5400000">
        <a:off x="2807344" y="2613609"/>
        <a:ext cx="2807344" cy="1568166"/>
      </dsp:txXfrm>
    </dsp:sp>
    <dsp:sp modelId="{153D2728-F066-4F0F-B5E4-7ADD22DC6F5D}">
      <dsp:nvSpPr>
        <dsp:cNvPr id="0" name=""/>
        <dsp:cNvSpPr/>
      </dsp:nvSpPr>
      <dsp:spPr>
        <a:xfrm>
          <a:off x="1965141" y="1568166"/>
          <a:ext cx="1684406" cy="1045444"/>
        </a:xfrm>
        <a:prstGeom prst="roundRect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/>
            <a:t>Generate more business! </a:t>
          </a:r>
        </a:p>
      </dsp:txBody>
      <dsp:txXfrm>
        <a:off x="2016175" y="1619200"/>
        <a:ext cx="1582338" cy="94337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6DE1C6A-F3E9-4878-9DCB-525AE967120A}">
      <dsp:nvSpPr>
        <dsp:cNvPr id="0" name=""/>
        <dsp:cNvSpPr/>
      </dsp:nvSpPr>
      <dsp:spPr>
        <a:xfrm>
          <a:off x="3" y="0"/>
          <a:ext cx="1272480" cy="575475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5128" tIns="135128" rIns="135128" bIns="135128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900" kern="1200" dirty="0"/>
            <a:t>External frame</a:t>
          </a:r>
        </a:p>
      </dsp:txBody>
      <dsp:txXfrm>
        <a:off x="3" y="2301902"/>
        <a:ext cx="1272480" cy="2301902"/>
      </dsp:txXfrm>
    </dsp:sp>
    <dsp:sp modelId="{498E6E9D-5D38-4849-8C1E-038195ED813A}">
      <dsp:nvSpPr>
        <dsp:cNvPr id="0" name=""/>
        <dsp:cNvSpPr/>
      </dsp:nvSpPr>
      <dsp:spPr>
        <a:xfrm>
          <a:off x="85275" y="710854"/>
          <a:ext cx="1109519" cy="1185195"/>
        </a:xfrm>
        <a:prstGeom prst="ellipse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161FC3C-6DFA-4579-8905-8B3223B246F3}">
      <dsp:nvSpPr>
        <dsp:cNvPr id="0" name=""/>
        <dsp:cNvSpPr/>
      </dsp:nvSpPr>
      <dsp:spPr>
        <a:xfrm>
          <a:off x="1314449" y="0"/>
          <a:ext cx="1272480" cy="575475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5128" tIns="135128" rIns="135128" bIns="135128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u="none" kern="1200" dirty="0"/>
            <a:t>Flexible</a:t>
          </a:r>
          <a:r>
            <a:rPr lang="en-US" sz="1900" kern="1200" dirty="0"/>
            <a:t>, double swivel elbow</a:t>
          </a:r>
        </a:p>
      </dsp:txBody>
      <dsp:txXfrm>
        <a:off x="1314449" y="2301902"/>
        <a:ext cx="1272480" cy="2301902"/>
      </dsp:txXfrm>
    </dsp:sp>
    <dsp:sp modelId="{4A042F69-76AD-4DA9-8B41-8525EE50ADA8}">
      <dsp:nvSpPr>
        <dsp:cNvPr id="0" name=""/>
        <dsp:cNvSpPr/>
      </dsp:nvSpPr>
      <dsp:spPr>
        <a:xfrm>
          <a:off x="1396845" y="710854"/>
          <a:ext cx="1107689" cy="1185195"/>
        </a:xfrm>
        <a:prstGeom prst="ellipse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06BBFBF-8F13-4C56-8D2A-0AD247A47F76}">
      <dsp:nvSpPr>
        <dsp:cNvPr id="0" name=""/>
        <dsp:cNvSpPr/>
      </dsp:nvSpPr>
      <dsp:spPr>
        <a:xfrm>
          <a:off x="2625104" y="0"/>
          <a:ext cx="1272480" cy="575475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5128" tIns="135128" rIns="135128" bIns="135128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Large, soft forehead pad</a:t>
          </a:r>
        </a:p>
      </dsp:txBody>
      <dsp:txXfrm>
        <a:off x="2625104" y="2301902"/>
        <a:ext cx="1272480" cy="2301902"/>
      </dsp:txXfrm>
    </dsp:sp>
    <dsp:sp modelId="{844642B7-DB6D-480F-A230-D86F3BA7F8E1}">
      <dsp:nvSpPr>
        <dsp:cNvPr id="0" name=""/>
        <dsp:cNvSpPr/>
      </dsp:nvSpPr>
      <dsp:spPr>
        <a:xfrm>
          <a:off x="2707500" y="710854"/>
          <a:ext cx="1107689" cy="1185195"/>
        </a:xfrm>
        <a:prstGeom prst="ellipse">
          <a:avLst/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1BAC4EB-14FE-41D0-9150-52CF1600300B}">
      <dsp:nvSpPr>
        <dsp:cNvPr id="0" name=""/>
        <dsp:cNvSpPr/>
      </dsp:nvSpPr>
      <dsp:spPr>
        <a:xfrm>
          <a:off x="3931967" y="0"/>
          <a:ext cx="1272480" cy="575475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5128" tIns="135128" rIns="135128" bIns="135128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Soft seal</a:t>
          </a:r>
        </a:p>
      </dsp:txBody>
      <dsp:txXfrm>
        <a:off x="3931967" y="2301902"/>
        <a:ext cx="1272480" cy="2301902"/>
      </dsp:txXfrm>
    </dsp:sp>
    <dsp:sp modelId="{16749705-BA5E-429B-A82D-0370F194B488}">
      <dsp:nvSpPr>
        <dsp:cNvPr id="0" name=""/>
        <dsp:cNvSpPr/>
      </dsp:nvSpPr>
      <dsp:spPr>
        <a:xfrm>
          <a:off x="4018155" y="710854"/>
          <a:ext cx="1107689" cy="1185195"/>
        </a:xfrm>
        <a:prstGeom prst="ellipse">
          <a:avLst/>
        </a:prstGeom>
        <a:blipFill rotWithShape="1">
          <a:blip xmlns:r="http://schemas.openxmlformats.org/officeDocument/2006/relationships" r:embed="rId4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A8B3CFF-B1A0-4679-9052-0CA19FCFAFE9}">
      <dsp:nvSpPr>
        <dsp:cNvPr id="0" name=""/>
        <dsp:cNvSpPr/>
      </dsp:nvSpPr>
      <dsp:spPr>
        <a:xfrm>
          <a:off x="5246414" y="0"/>
          <a:ext cx="1272480" cy="575475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5128" tIns="135128" rIns="135128" bIns="135128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4-Point head gear</a:t>
          </a:r>
        </a:p>
      </dsp:txBody>
      <dsp:txXfrm>
        <a:off x="5246414" y="2301902"/>
        <a:ext cx="1272480" cy="2301902"/>
      </dsp:txXfrm>
    </dsp:sp>
    <dsp:sp modelId="{849EB56D-61FF-448F-B394-A36EDE90646A}">
      <dsp:nvSpPr>
        <dsp:cNvPr id="0" name=""/>
        <dsp:cNvSpPr/>
      </dsp:nvSpPr>
      <dsp:spPr>
        <a:xfrm>
          <a:off x="5328810" y="710854"/>
          <a:ext cx="1107689" cy="1185195"/>
        </a:xfrm>
        <a:prstGeom prst="ellipse">
          <a:avLst/>
        </a:prstGeom>
        <a:blipFill rotWithShape="1">
          <a:blip xmlns:r="http://schemas.openxmlformats.org/officeDocument/2006/relationships" r:embed="rId5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D317464-009C-41C3-9311-2056563704C2}">
      <dsp:nvSpPr>
        <dsp:cNvPr id="0" name=""/>
        <dsp:cNvSpPr/>
      </dsp:nvSpPr>
      <dsp:spPr>
        <a:xfrm>
          <a:off x="6557069" y="0"/>
          <a:ext cx="1272480" cy="575475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5128" tIns="135128" rIns="135128" bIns="135128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Quick clip</a:t>
          </a:r>
        </a:p>
      </dsp:txBody>
      <dsp:txXfrm>
        <a:off x="6557069" y="2301902"/>
        <a:ext cx="1272480" cy="2301902"/>
      </dsp:txXfrm>
    </dsp:sp>
    <dsp:sp modelId="{1404F393-F8AE-489F-8183-D9A16BD96D30}">
      <dsp:nvSpPr>
        <dsp:cNvPr id="0" name=""/>
        <dsp:cNvSpPr/>
      </dsp:nvSpPr>
      <dsp:spPr>
        <a:xfrm>
          <a:off x="6639464" y="710854"/>
          <a:ext cx="1107689" cy="1185195"/>
        </a:xfrm>
        <a:prstGeom prst="ellipse">
          <a:avLst/>
        </a:prstGeom>
        <a:blipFill rotWithShape="1">
          <a:blip xmlns:r="http://schemas.openxmlformats.org/officeDocument/2006/relationships" r:embed="rId6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42E179B-94F2-4160-8940-1DFD35A0F226}">
      <dsp:nvSpPr>
        <dsp:cNvPr id="0" name=""/>
        <dsp:cNvSpPr/>
      </dsp:nvSpPr>
      <dsp:spPr>
        <a:xfrm>
          <a:off x="7867724" y="0"/>
          <a:ext cx="1272480" cy="575475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5128" tIns="135128" rIns="135128" bIns="135128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No added DEHP</a:t>
          </a:r>
        </a:p>
      </dsp:txBody>
      <dsp:txXfrm>
        <a:off x="7867724" y="2301902"/>
        <a:ext cx="1272480" cy="2301902"/>
      </dsp:txXfrm>
    </dsp:sp>
    <dsp:sp modelId="{1D86A457-1D18-4D36-B685-2CAB9600A7B4}">
      <dsp:nvSpPr>
        <dsp:cNvPr id="0" name=""/>
        <dsp:cNvSpPr/>
      </dsp:nvSpPr>
      <dsp:spPr>
        <a:xfrm>
          <a:off x="7950119" y="710854"/>
          <a:ext cx="1107689" cy="1185195"/>
        </a:xfrm>
        <a:prstGeom prst="ellipse">
          <a:avLst/>
        </a:prstGeom>
        <a:blipFill rotWithShape="1">
          <a:blip xmlns:r="http://schemas.openxmlformats.org/officeDocument/2006/relationships" r:embed="rId7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500A0E4-C663-4331-BB73-F2252FF02FA8}">
      <dsp:nvSpPr>
        <dsp:cNvPr id="0" name=""/>
        <dsp:cNvSpPr/>
      </dsp:nvSpPr>
      <dsp:spPr>
        <a:xfrm flipV="1">
          <a:off x="365759" y="4996934"/>
          <a:ext cx="8412480" cy="76955"/>
        </a:xfrm>
        <a:prstGeom prst="leftRight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7">
  <dgm:title val=""/>
  <dgm:desc val=""/>
  <dgm:catLst>
    <dgm:cat type="list" pri="12000"/>
    <dgm:cat type="process" pri="20000"/>
    <dgm:cat type="relationship" pri="14000"/>
    <dgm:cat type="convert" pri="8000"/>
    <dgm:cat type="picture" pri="25000"/>
    <dgm:cat type="pictureconvert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7669C99-7C58-4D38-B9EA-EFA21DC188E3}" type="datetimeFigureOut">
              <a:rPr lang="en-US" smtClean="0"/>
              <a:t>10/27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831BCC-2F69-49F6-862C-D2C92E3714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18114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Explain novation from </a:t>
            </a:r>
            <a:r>
              <a:rPr lang="en-GB" dirty="0" err="1"/>
              <a:t>aquilant</a:t>
            </a:r>
            <a:r>
              <a:rPr lang="en-GB" dirty="0"/>
              <a:t> – massive op</a:t>
            </a:r>
          </a:p>
          <a:p>
            <a:r>
              <a:rPr lang="en-GB" dirty="0"/>
              <a:t>Strategy moving forward</a:t>
            </a:r>
          </a:p>
          <a:p>
            <a:r>
              <a:rPr lang="en-GB" dirty="0"/>
              <a:t>Refresher on F&amp;B</a:t>
            </a:r>
          </a:p>
          <a:p>
            <a:endParaRPr lang="en-GB" dirty="0"/>
          </a:p>
          <a:p>
            <a:endParaRPr lang="en-GB" dirty="0"/>
          </a:p>
          <a:p>
            <a:r>
              <a:rPr lang="en-GB" dirty="0"/>
              <a:t>Not just ICU use NIV – A/M ask procurement about cost saving exercises for </a:t>
            </a:r>
            <a:r>
              <a:rPr lang="en-GB" dirty="0" err="1"/>
              <a:t>niv</a:t>
            </a:r>
            <a:endParaRPr lang="en-GB" dirty="0"/>
          </a:p>
          <a:p>
            <a:r>
              <a:rPr lang="en-GB" dirty="0"/>
              <a:t>Don’t just email…</a:t>
            </a:r>
          </a:p>
          <a:p>
            <a:r>
              <a:rPr lang="en-GB" dirty="0"/>
              <a:t>This will be ongoing 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831BCC-2F69-49F6-862C-D2C92E3714C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6257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34988" y="676275"/>
            <a:ext cx="6016625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A14F288-EB72-47CF-ABBF-0494BF0064A3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520175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09DBC92-98EF-AE46-AB88-4EE590D24AF7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324703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NIV NOVATION LETTER</a:t>
            </a:r>
          </a:p>
          <a:p>
            <a:r>
              <a:rPr lang="en-GB" dirty="0"/>
              <a:t>NHSSC Purchasing guide</a:t>
            </a:r>
          </a:p>
          <a:p>
            <a:r>
              <a:rPr lang="en-GB" dirty="0"/>
              <a:t>Sizing templat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831BCC-2F69-49F6-862C-D2C92E3714C5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654644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831BCC-2F69-49F6-862C-D2C92E3714C5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34679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8" name="Google Shape;258;p8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r>
              <a:rPr lang="en-GB" dirty="0"/>
              <a:t>Start at 3 min 21.</a:t>
            </a:r>
            <a:endParaRPr dirty="0"/>
          </a:p>
        </p:txBody>
      </p:sp>
      <p:sp>
        <p:nvSpPr>
          <p:cNvPr id="259" name="Google Shape;259;p8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Can anyone think of any more? – home ca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831BCC-2F69-49F6-862C-D2C92E3714C5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82693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Working with all and not just o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831BCC-2F69-49F6-862C-D2C92E3714C5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15993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34988" y="676275"/>
            <a:ext cx="6016625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1">
              <a:tabLst>
                <a:tab pos="292765" algn="l"/>
              </a:tabLst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5B268F-7E2A-4F79-B496-533F3EBE5FD4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96013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09DBC92-98EF-AE46-AB88-4EE590D24AF7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300095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34988" y="676275"/>
            <a:ext cx="6016625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1">
              <a:tabLst>
                <a:tab pos="292765" algn="l"/>
              </a:tabLst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5B268F-7E2A-4F79-B496-533F3EBE5FD4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412770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34988" y="676275"/>
            <a:ext cx="6016625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1">
              <a:tabLst>
                <a:tab pos="292765" algn="l"/>
              </a:tabLst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5B268F-7E2A-4F79-B496-533F3EBE5FD4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24337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34988" y="676275"/>
            <a:ext cx="6016625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A14F288-EB72-47CF-ABBF-0494BF0064A3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52264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1.png"/><Relationship Id="rId4" Type="http://schemas.openxmlformats.org/officeDocument/2006/relationships/image" Target="../media/image10.tif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0.tif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tif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tif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oogle Shape;11;p29" descr="A picture containing logo&#10;&#10;Description automatically generated">
            <a:extLst>
              <a:ext uri="{FF2B5EF4-FFF2-40B4-BE49-F238E27FC236}">
                <a16:creationId xmlns:a16="http://schemas.microsoft.com/office/drawing/2014/main" id="{D163FC40-5342-1640-9190-9695D15DEF5D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Google Shape;13;p29">
            <a:extLst>
              <a:ext uri="{FF2B5EF4-FFF2-40B4-BE49-F238E27FC236}">
                <a16:creationId xmlns:a16="http://schemas.microsoft.com/office/drawing/2014/main" id="{1EFEC695-38A1-994C-B997-F1D9EDA49854}"/>
              </a:ext>
            </a:extLst>
          </p:cNvPr>
          <p:cNvPicPr preferRelativeResize="0"/>
          <p:nvPr userDrawn="1"/>
        </p:nvPicPr>
        <p:blipFill rotWithShape="1">
          <a:blip r:embed="rId3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5542" y="740834"/>
            <a:ext cx="3540125" cy="775918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Google Shape;14;p29">
            <a:extLst>
              <a:ext uri="{FF2B5EF4-FFF2-40B4-BE49-F238E27FC236}">
                <a16:creationId xmlns:a16="http://schemas.microsoft.com/office/drawing/2014/main" id="{138FB242-DD1B-7446-8BC2-BDF162CF786F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735542" y="2178129"/>
            <a:ext cx="5171017" cy="17737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25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83"/>
              </a:spcBef>
              <a:spcAft>
                <a:spcPts val="0"/>
              </a:spcAft>
              <a:buClr>
                <a:schemeClr val="accent2"/>
              </a:buClr>
              <a:buSzPts val="4600"/>
              <a:buFont typeface="Calibri"/>
              <a:buNone/>
              <a:defRPr sz="3833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" name="Google Shape;15;p29">
            <a:extLst>
              <a:ext uri="{FF2B5EF4-FFF2-40B4-BE49-F238E27FC236}">
                <a16:creationId xmlns:a16="http://schemas.microsoft.com/office/drawing/2014/main" id="{8E3409E9-0094-4542-8240-15283CD6FC26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765969" y="4794251"/>
            <a:ext cx="4605073" cy="4355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rgbClr val="A7A9AC"/>
              </a:buClr>
              <a:buSzPts val="2200"/>
              <a:buNone/>
              <a:defRPr sz="1833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ctr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3200"/>
              <a:buNone/>
              <a:defRPr sz="2667"/>
            </a:lvl2pPr>
            <a:lvl3pPr lvl="2" algn="ctr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880"/>
              <a:buNone/>
              <a:defRPr sz="2400"/>
            </a:lvl3pPr>
            <a:lvl4pPr lvl="3" algn="ctr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560"/>
              <a:buNone/>
              <a:defRPr sz="2133"/>
            </a:lvl4pPr>
            <a:lvl5pPr lvl="4" algn="ctr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560"/>
              <a:buNone/>
              <a:defRPr sz="2133"/>
            </a:lvl5pPr>
            <a:lvl6pPr lvl="5" algn="ctr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560"/>
              <a:buNone/>
              <a:defRPr sz="2133"/>
            </a:lvl6pPr>
            <a:lvl7pPr lvl="6" algn="ctr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560"/>
              <a:buNone/>
              <a:defRPr sz="2133"/>
            </a:lvl7pPr>
            <a:lvl8pPr lvl="7" algn="ctr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560"/>
              <a:buNone/>
              <a:defRPr sz="2133"/>
            </a:lvl8pPr>
            <a:lvl9pPr lvl="8" algn="ctr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560"/>
              <a:buNone/>
              <a:defRPr sz="2133"/>
            </a:lvl9pPr>
          </a:lstStyle>
          <a:p>
            <a:endParaRPr/>
          </a:p>
        </p:txBody>
      </p:sp>
      <p:sp>
        <p:nvSpPr>
          <p:cNvPr id="7" name="Google Shape;51;p35">
            <a:extLst>
              <a:ext uri="{FF2B5EF4-FFF2-40B4-BE49-F238E27FC236}">
                <a16:creationId xmlns:a16="http://schemas.microsoft.com/office/drawing/2014/main" id="{6AE97720-1666-2D41-B412-C7CA877D24A5}"/>
              </a:ext>
            </a:extLst>
          </p:cNvPr>
          <p:cNvSpPr txBox="1"/>
          <p:nvPr userDrawn="1"/>
        </p:nvSpPr>
        <p:spPr>
          <a:xfrm>
            <a:off x="345648" y="6387044"/>
            <a:ext cx="6886046" cy="117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833" b="0" i="0" u="none" strike="noStrike" cap="none" dirty="0">
                <a:solidFill>
                  <a:srgbClr val="A7A9AC"/>
                </a:solidFill>
                <a:latin typeface="Calibri"/>
                <a:ea typeface="Calibri"/>
                <a:cs typeface="Calibri"/>
                <a:sym typeface="Calibri"/>
              </a:rPr>
              <a:t>© 2021 Vyaire. Vyaire and the Vyaire logo are trademarks or registered trademarks of Vyaire Medical, Inc., or one of its affiliates.</a:t>
            </a:r>
            <a:endParaRPr sz="1500" dirty="0"/>
          </a:p>
        </p:txBody>
      </p:sp>
    </p:spTree>
    <p:extLst>
      <p:ext uri="{BB962C8B-B14F-4D97-AF65-F5344CB8AC3E}">
        <p14:creationId xmlns:p14="http://schemas.microsoft.com/office/powerpoint/2010/main" val="1311198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mi circle white shad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oogle Shape;135;p49">
            <a:extLst>
              <a:ext uri="{FF2B5EF4-FFF2-40B4-BE49-F238E27FC236}">
                <a16:creationId xmlns:a16="http://schemas.microsoft.com/office/drawing/2014/main" id="{1A53F8B7-9CC8-9A4E-B110-433AA1CC76D2}"/>
              </a:ext>
            </a:extLst>
          </p:cNvPr>
          <p:cNvPicPr preferRelativeResize="0"/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09833" y="0"/>
            <a:ext cx="5482167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Google Shape;136;p49">
            <a:extLst>
              <a:ext uri="{FF2B5EF4-FFF2-40B4-BE49-F238E27FC236}">
                <a16:creationId xmlns:a16="http://schemas.microsoft.com/office/drawing/2014/main" id="{2C389B8E-1C42-8048-A51A-4EFD40B22B56}"/>
              </a:ext>
            </a:extLst>
          </p:cNvPr>
          <p:cNvPicPr preferRelativeResize="0"/>
          <p:nvPr userDrawn="1"/>
        </p:nvPicPr>
        <p:blipFill rotWithShape="1">
          <a:blip r:embed="rId3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93802" y="6375789"/>
            <a:ext cx="1528252" cy="337269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EBD42369-E577-2C44-9C58-3BFCC23274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1999" y="365145"/>
            <a:ext cx="10944618" cy="486025"/>
          </a:xfrm>
        </p:spPr>
        <p:txBody>
          <a:bodyPr anchor="t"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Google Shape;141;p50">
            <a:extLst>
              <a:ext uri="{FF2B5EF4-FFF2-40B4-BE49-F238E27FC236}">
                <a16:creationId xmlns:a16="http://schemas.microsoft.com/office/drawing/2014/main" id="{37D1C4AE-DFDF-3442-B156-20A49F2A2924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471999" y="737569"/>
            <a:ext cx="10944618" cy="434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ctr" anchorCtr="0">
            <a:noAutofit/>
          </a:bodyPr>
          <a:lstStyle>
            <a:lvl1pPr marL="380985" lvl="0" indent="-190492" algn="l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000" b="1">
                <a:solidFill>
                  <a:schemeClr val="accent3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761970" lvl="1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2954" lvl="2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523939" lvl="3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904924" lvl="4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5909" lvl="5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666893" lvl="6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047878" lvl="7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428863" lvl="8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 dirty="0"/>
              <a:t>Sub-Head (24pt)</a:t>
            </a:r>
            <a:endParaRPr dirty="0"/>
          </a:p>
        </p:txBody>
      </p:sp>
      <p:sp>
        <p:nvSpPr>
          <p:cNvPr id="7" name="Content Placeholder 11">
            <a:extLst>
              <a:ext uri="{FF2B5EF4-FFF2-40B4-BE49-F238E27FC236}">
                <a16:creationId xmlns:a16="http://schemas.microsoft.com/office/drawing/2014/main" id="{30E8BA3F-574F-AB4C-AB9A-E74866B9062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72282" y="1361282"/>
            <a:ext cx="10944489" cy="3802063"/>
          </a:xfrm>
        </p:spPr>
        <p:txBody>
          <a:bodyPr/>
          <a:lstStyle>
            <a:lvl1pPr marL="95246" indent="0">
              <a:buClr>
                <a:srgbClr val="002060"/>
              </a:buClr>
              <a:buSzPct val="100000"/>
              <a:buFont typeface="Arial" panose="020B0604020202020204" pitchFamily="34" charset="0"/>
              <a:buNone/>
              <a:defRPr sz="2000">
                <a:solidFill>
                  <a:schemeClr val="accent6"/>
                </a:solidFill>
              </a:defRPr>
            </a:lvl1pPr>
            <a:lvl2pPr>
              <a:buClr>
                <a:srgbClr val="002060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rgbClr val="002060"/>
              </a:buClr>
              <a:defRPr sz="1333">
                <a:solidFill>
                  <a:schemeClr val="accent6"/>
                </a:solidFill>
              </a:defRPr>
            </a:lvl3pPr>
            <a:lvl4pPr>
              <a:buClr>
                <a:srgbClr val="002060"/>
              </a:buClr>
              <a:defRPr sz="1167"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5513872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spita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oogle Shape;59;p38" descr="A picture containing indoor, floor&#10;&#10;Description automatically generated">
            <a:extLst>
              <a:ext uri="{FF2B5EF4-FFF2-40B4-BE49-F238E27FC236}">
                <a16:creationId xmlns:a16="http://schemas.microsoft.com/office/drawing/2014/main" id="{1BBD6C1C-43A6-F940-87D6-FF3E2EDCD40A}"/>
              </a:ext>
            </a:extLst>
          </p:cNvPr>
          <p:cNvPicPr preferRelativeResize="0"/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8090997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Google Shape;60;p38">
            <a:extLst>
              <a:ext uri="{FF2B5EF4-FFF2-40B4-BE49-F238E27FC236}">
                <a16:creationId xmlns:a16="http://schemas.microsoft.com/office/drawing/2014/main" id="{4473215E-819B-5D4F-B2B3-FCD822A91CC5}"/>
              </a:ext>
            </a:extLst>
          </p:cNvPr>
          <p:cNvPicPr preferRelativeResize="0"/>
          <p:nvPr userDrawn="1"/>
        </p:nvPicPr>
        <p:blipFill rotWithShape="1">
          <a:blip r:embed="rId3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22750" y="0"/>
            <a:ext cx="796925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Google Shape;61;p38">
            <a:extLst>
              <a:ext uri="{FF2B5EF4-FFF2-40B4-BE49-F238E27FC236}">
                <a16:creationId xmlns:a16="http://schemas.microsoft.com/office/drawing/2014/main" id="{212DDC42-40D7-364E-BB15-7A735A7A242F}"/>
              </a:ext>
            </a:extLst>
          </p:cNvPr>
          <p:cNvSpPr txBox="1"/>
          <p:nvPr userDrawn="1"/>
        </p:nvSpPr>
        <p:spPr>
          <a:xfrm>
            <a:off x="306455" y="6387042"/>
            <a:ext cx="6886046" cy="117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833" b="0" i="0" u="none" strike="noStrike" cap="none">
                <a:solidFill>
                  <a:srgbClr val="A7A9AC"/>
                </a:solidFill>
                <a:latin typeface="Calibri"/>
                <a:ea typeface="Calibri"/>
                <a:cs typeface="Calibri"/>
                <a:sym typeface="Calibri"/>
              </a:rPr>
              <a:t>© 2021 Vyaire. Vyaire and the Vyaire logo are trademarks or registered trademarks of Vyaire Medical, Inc., or one of its affiliates.</a:t>
            </a:r>
            <a:endParaRPr sz="1500"/>
          </a:p>
        </p:txBody>
      </p:sp>
      <p:pic>
        <p:nvPicPr>
          <p:cNvPr id="6" name="Google Shape;64;p38">
            <a:extLst>
              <a:ext uri="{FF2B5EF4-FFF2-40B4-BE49-F238E27FC236}">
                <a16:creationId xmlns:a16="http://schemas.microsoft.com/office/drawing/2014/main" id="{47BDAA34-F094-7646-9B89-859D0E1895C4}"/>
              </a:ext>
            </a:extLst>
          </p:cNvPr>
          <p:cNvPicPr preferRelativeResize="0"/>
          <p:nvPr userDrawn="1"/>
        </p:nvPicPr>
        <p:blipFill rotWithShape="1">
          <a:blip r:embed="rId4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93802" y="6375789"/>
            <a:ext cx="1528252" cy="337269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5D5A6DAF-B514-B44A-8168-11CEED59C4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7558" y="365145"/>
            <a:ext cx="5785913" cy="486025"/>
          </a:xfrm>
        </p:spPr>
        <p:txBody>
          <a:bodyPr anchor="t"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Google Shape;141;p50">
            <a:extLst>
              <a:ext uri="{FF2B5EF4-FFF2-40B4-BE49-F238E27FC236}">
                <a16:creationId xmlns:a16="http://schemas.microsoft.com/office/drawing/2014/main" id="{F478FD22-8E10-6042-A0E8-3949EC4BF271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6227558" y="737569"/>
            <a:ext cx="5785913" cy="434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ctr" anchorCtr="0">
            <a:noAutofit/>
          </a:bodyPr>
          <a:lstStyle>
            <a:lvl1pPr marL="380985" lvl="0" indent="-190492" algn="l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000" b="1">
                <a:solidFill>
                  <a:schemeClr val="accent3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761970" lvl="1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2954" lvl="2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523939" lvl="3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904924" lvl="4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5909" lvl="5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666893" lvl="6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047878" lvl="7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428863" lvl="8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 dirty="0"/>
              <a:t>Sub-Head (24pt)</a:t>
            </a:r>
            <a:endParaRPr dirty="0"/>
          </a:p>
        </p:txBody>
      </p:sp>
      <p:sp>
        <p:nvSpPr>
          <p:cNvPr id="9" name="Content Placeholder 11">
            <a:extLst>
              <a:ext uri="{FF2B5EF4-FFF2-40B4-BE49-F238E27FC236}">
                <a16:creationId xmlns:a16="http://schemas.microsoft.com/office/drawing/2014/main" id="{69FF1A40-FC91-DF43-9BE3-60A21B504D8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227840" y="1361282"/>
            <a:ext cx="5785846" cy="3802063"/>
          </a:xfrm>
        </p:spPr>
        <p:txBody>
          <a:bodyPr/>
          <a:lstStyle>
            <a:lvl1pPr marL="95246" indent="0">
              <a:buClr>
                <a:srgbClr val="002060"/>
              </a:buClr>
              <a:buSzPct val="100000"/>
              <a:buFont typeface="Arial" panose="020B0604020202020204" pitchFamily="34" charset="0"/>
              <a:buNone/>
              <a:defRPr sz="2000">
                <a:solidFill>
                  <a:schemeClr val="accent6"/>
                </a:solidFill>
              </a:defRPr>
            </a:lvl1pPr>
            <a:lvl2pPr>
              <a:buClr>
                <a:srgbClr val="002060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rgbClr val="002060"/>
              </a:buClr>
              <a:defRPr sz="1333">
                <a:solidFill>
                  <a:schemeClr val="accent6"/>
                </a:solidFill>
              </a:defRPr>
            </a:lvl3pPr>
            <a:lvl4pPr>
              <a:buClr>
                <a:srgbClr val="002060"/>
              </a:buClr>
              <a:defRPr sz="1167"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1700070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ma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oogle Shape;60;p38">
            <a:extLst>
              <a:ext uri="{FF2B5EF4-FFF2-40B4-BE49-F238E27FC236}">
                <a16:creationId xmlns:a16="http://schemas.microsoft.com/office/drawing/2014/main" id="{F5C53FE2-E9D9-5D49-9084-51A6CC3970CD}"/>
              </a:ext>
            </a:extLst>
          </p:cNvPr>
          <p:cNvPicPr preferRelativeResize="0"/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22750" y="0"/>
            <a:ext cx="796925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Google Shape;61;p38">
            <a:extLst>
              <a:ext uri="{FF2B5EF4-FFF2-40B4-BE49-F238E27FC236}">
                <a16:creationId xmlns:a16="http://schemas.microsoft.com/office/drawing/2014/main" id="{B7A8BB45-2BDB-CC4A-A4F5-8145E8CB8A4A}"/>
              </a:ext>
            </a:extLst>
          </p:cNvPr>
          <p:cNvSpPr txBox="1"/>
          <p:nvPr userDrawn="1"/>
        </p:nvSpPr>
        <p:spPr>
          <a:xfrm>
            <a:off x="306455" y="6387042"/>
            <a:ext cx="6886046" cy="117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833" b="0" i="0" u="none" strike="noStrike" cap="none">
                <a:solidFill>
                  <a:srgbClr val="A7A9AC"/>
                </a:solidFill>
                <a:latin typeface="Calibri"/>
                <a:ea typeface="Calibri"/>
                <a:cs typeface="Calibri"/>
                <a:sym typeface="Calibri"/>
              </a:rPr>
              <a:t>© 2021 Vyaire. Vyaire and the Vyaire logo are trademarks or registered trademarks of Vyaire Medical, Inc., or one of its affiliates.</a:t>
            </a:r>
            <a:endParaRPr sz="1500"/>
          </a:p>
        </p:txBody>
      </p:sp>
      <p:pic>
        <p:nvPicPr>
          <p:cNvPr id="5" name="Google Shape;64;p38">
            <a:extLst>
              <a:ext uri="{FF2B5EF4-FFF2-40B4-BE49-F238E27FC236}">
                <a16:creationId xmlns:a16="http://schemas.microsoft.com/office/drawing/2014/main" id="{9A5023C6-1E82-B94F-A7D2-1DE763D3CF50}"/>
              </a:ext>
            </a:extLst>
          </p:cNvPr>
          <p:cNvPicPr preferRelativeResize="0"/>
          <p:nvPr userDrawn="1"/>
        </p:nvPicPr>
        <p:blipFill rotWithShape="1">
          <a:blip r:embed="rId3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93802" y="6375789"/>
            <a:ext cx="1528252" cy="337269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EDFD362-B0F4-054B-B0EC-BE5B82E89D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749" y="-11723"/>
            <a:ext cx="6097749" cy="6858000"/>
          </a:xfrm>
          <a:prstGeom prst="rect">
            <a:avLst/>
          </a:prstGeom>
        </p:spPr>
      </p:pic>
      <p:pic>
        <p:nvPicPr>
          <p:cNvPr id="7" name="Google Shape;67;p39">
            <a:extLst>
              <a:ext uri="{FF2B5EF4-FFF2-40B4-BE49-F238E27FC236}">
                <a16:creationId xmlns:a16="http://schemas.microsoft.com/office/drawing/2014/main" id="{156E532D-4F59-1E48-97EC-DFE330C936E5}"/>
              </a:ext>
            </a:extLst>
          </p:cNvPr>
          <p:cNvPicPr preferRelativeResize="0"/>
          <p:nvPr userDrawn="1"/>
        </p:nvPicPr>
        <p:blipFill rotWithShape="1">
          <a:blip r:embed="rId5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22750" y="-23447"/>
            <a:ext cx="796925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075E866A-3B90-DC46-B3BF-AC6C7906BB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7558" y="365145"/>
            <a:ext cx="5785913" cy="486025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Google Shape;141;p50">
            <a:extLst>
              <a:ext uri="{FF2B5EF4-FFF2-40B4-BE49-F238E27FC236}">
                <a16:creationId xmlns:a16="http://schemas.microsoft.com/office/drawing/2014/main" id="{77A25D30-34E0-DA40-A97D-9A3F079F4942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6227558" y="737569"/>
            <a:ext cx="5785913" cy="434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ctr" anchorCtr="0">
            <a:noAutofit/>
          </a:bodyPr>
          <a:lstStyle>
            <a:lvl1pPr marL="380985" lvl="0" indent="-190492" algn="l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000" b="1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761970" lvl="1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2954" lvl="2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523939" lvl="3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904924" lvl="4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5909" lvl="5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666893" lvl="6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047878" lvl="7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428863" lvl="8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 dirty="0"/>
              <a:t>Sub-Head (24pt)</a:t>
            </a:r>
            <a:endParaRPr dirty="0"/>
          </a:p>
        </p:txBody>
      </p:sp>
      <p:sp>
        <p:nvSpPr>
          <p:cNvPr id="10" name="Content Placeholder 11">
            <a:extLst>
              <a:ext uri="{FF2B5EF4-FFF2-40B4-BE49-F238E27FC236}">
                <a16:creationId xmlns:a16="http://schemas.microsoft.com/office/drawing/2014/main" id="{2573E327-B255-2B49-8138-78323237C9F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227840" y="1361282"/>
            <a:ext cx="5785846" cy="3802063"/>
          </a:xfrm>
        </p:spPr>
        <p:txBody>
          <a:bodyPr/>
          <a:lstStyle>
            <a:lvl1pPr marL="95246" indent="0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333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67">
                <a:solidFill>
                  <a:schemeClr val="bg1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1459959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1941446-582D-F644-A742-2267354550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749" y="-11723"/>
            <a:ext cx="6097749" cy="6858000"/>
          </a:xfrm>
          <a:prstGeom prst="rect">
            <a:avLst/>
          </a:prstGeom>
        </p:spPr>
      </p:pic>
      <p:pic>
        <p:nvPicPr>
          <p:cNvPr id="11" name="Picture 10" descr="Shape&#10;&#10;Description automatically generated">
            <a:extLst>
              <a:ext uri="{FF2B5EF4-FFF2-40B4-BE49-F238E27FC236}">
                <a16:creationId xmlns:a16="http://schemas.microsoft.com/office/drawing/2014/main" id="{8DE6CB3B-B09C-7A40-A836-F5C1AD79927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Google Shape;61;p38">
            <a:extLst>
              <a:ext uri="{FF2B5EF4-FFF2-40B4-BE49-F238E27FC236}">
                <a16:creationId xmlns:a16="http://schemas.microsoft.com/office/drawing/2014/main" id="{95BC61E5-E429-1D47-98E6-7C7F149AD303}"/>
              </a:ext>
            </a:extLst>
          </p:cNvPr>
          <p:cNvSpPr txBox="1"/>
          <p:nvPr userDrawn="1"/>
        </p:nvSpPr>
        <p:spPr>
          <a:xfrm>
            <a:off x="306455" y="6387042"/>
            <a:ext cx="6886046" cy="117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833" b="0" i="0" u="none" strike="noStrike" cap="none">
                <a:solidFill>
                  <a:srgbClr val="A7A9AC"/>
                </a:solidFill>
                <a:latin typeface="Calibri"/>
                <a:ea typeface="Calibri"/>
                <a:cs typeface="Calibri"/>
                <a:sym typeface="Calibri"/>
              </a:rPr>
              <a:t>© 2021 Vyaire. Vyaire and the Vyaire logo are trademarks or registered trademarks of Vyaire Medical, Inc., or one of its affiliates.</a:t>
            </a:r>
            <a:endParaRPr sz="150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4959C0A-1673-A746-B7BB-BD63F3A6F9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7558" y="365145"/>
            <a:ext cx="5785913" cy="486025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Google Shape;141;p50">
            <a:extLst>
              <a:ext uri="{FF2B5EF4-FFF2-40B4-BE49-F238E27FC236}">
                <a16:creationId xmlns:a16="http://schemas.microsoft.com/office/drawing/2014/main" id="{F434664D-DB8F-2846-BA95-0D2C4A0EDA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6227558" y="737569"/>
            <a:ext cx="5785913" cy="434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ctr" anchorCtr="0">
            <a:noAutofit/>
          </a:bodyPr>
          <a:lstStyle>
            <a:lvl1pPr marL="380985" lvl="0" indent="-190492" algn="l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000" b="1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761970" lvl="1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2954" lvl="2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523939" lvl="3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904924" lvl="4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5909" lvl="5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666893" lvl="6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047878" lvl="7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428863" lvl="8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 dirty="0"/>
              <a:t>Sub-Head (24pt)</a:t>
            </a:r>
            <a:endParaRPr dirty="0"/>
          </a:p>
        </p:txBody>
      </p:sp>
      <p:sp>
        <p:nvSpPr>
          <p:cNvPr id="9" name="Content Placeholder 11">
            <a:extLst>
              <a:ext uri="{FF2B5EF4-FFF2-40B4-BE49-F238E27FC236}">
                <a16:creationId xmlns:a16="http://schemas.microsoft.com/office/drawing/2014/main" id="{9DC4BCDA-B38C-8248-AF59-3DB4D906A53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227840" y="1361282"/>
            <a:ext cx="5785846" cy="3802063"/>
          </a:xfrm>
        </p:spPr>
        <p:txBody>
          <a:bodyPr/>
          <a:lstStyle>
            <a:lvl1pPr marL="95246" indent="0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333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67">
                <a:solidFill>
                  <a:schemeClr val="bg1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52572937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p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E76C116-5FFE-5E41-B302-AB6DF965B2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72238" cy="6858000"/>
          </a:xfrm>
          <a:prstGeom prst="rect">
            <a:avLst/>
          </a:prstGeom>
        </p:spPr>
      </p:pic>
      <p:pic>
        <p:nvPicPr>
          <p:cNvPr id="4" name="Google Shape;79;p40">
            <a:extLst>
              <a:ext uri="{FF2B5EF4-FFF2-40B4-BE49-F238E27FC236}">
                <a16:creationId xmlns:a16="http://schemas.microsoft.com/office/drawing/2014/main" id="{E7155C5D-543D-884E-A4B6-1500531FED7C}"/>
              </a:ext>
            </a:extLst>
          </p:cNvPr>
          <p:cNvPicPr preferRelativeResize="0"/>
          <p:nvPr userDrawn="1"/>
        </p:nvPicPr>
        <p:blipFill rotWithShape="1">
          <a:blip r:embed="rId3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22750" y="0"/>
            <a:ext cx="796925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Google Shape;80;p40">
            <a:extLst>
              <a:ext uri="{FF2B5EF4-FFF2-40B4-BE49-F238E27FC236}">
                <a16:creationId xmlns:a16="http://schemas.microsoft.com/office/drawing/2014/main" id="{B3088A58-9AB8-9B4D-A970-934264002213}"/>
              </a:ext>
            </a:extLst>
          </p:cNvPr>
          <p:cNvSpPr txBox="1"/>
          <p:nvPr userDrawn="1"/>
        </p:nvSpPr>
        <p:spPr>
          <a:xfrm>
            <a:off x="306455" y="6387042"/>
            <a:ext cx="6886046" cy="117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833" b="0" i="0" u="none" strike="noStrike" cap="none">
                <a:solidFill>
                  <a:srgbClr val="A7A9AC"/>
                </a:solidFill>
                <a:latin typeface="Calibri"/>
                <a:ea typeface="Calibri"/>
                <a:cs typeface="Calibri"/>
                <a:sym typeface="Calibri"/>
              </a:rPr>
              <a:t>© 2021 Vyaire. Vyaire and the Vyaire logo are trademarks or registered trademarks of Vyaire Medical, Inc., or one of its affiliates.</a:t>
            </a:r>
            <a:endParaRPr sz="1500"/>
          </a:p>
        </p:txBody>
      </p:sp>
      <p:pic>
        <p:nvPicPr>
          <p:cNvPr id="6" name="Google Shape;83;p40">
            <a:extLst>
              <a:ext uri="{FF2B5EF4-FFF2-40B4-BE49-F238E27FC236}">
                <a16:creationId xmlns:a16="http://schemas.microsoft.com/office/drawing/2014/main" id="{7C3526C4-F918-9546-9DBC-F24A817A81F4}"/>
              </a:ext>
            </a:extLst>
          </p:cNvPr>
          <p:cNvPicPr preferRelativeResize="0"/>
          <p:nvPr userDrawn="1"/>
        </p:nvPicPr>
        <p:blipFill rotWithShape="1">
          <a:blip r:embed="rId4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93802" y="6375789"/>
            <a:ext cx="1528252" cy="337269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B8B5A31-B05F-4842-A552-450D610A06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7558" y="365145"/>
            <a:ext cx="5785913" cy="486025"/>
          </a:xfrm>
        </p:spPr>
        <p:txBody>
          <a:bodyPr anchor="t"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Google Shape;141;p50">
            <a:extLst>
              <a:ext uri="{FF2B5EF4-FFF2-40B4-BE49-F238E27FC236}">
                <a16:creationId xmlns:a16="http://schemas.microsoft.com/office/drawing/2014/main" id="{C147B0EC-433C-7A44-BC02-A88286973CB7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6227558" y="737569"/>
            <a:ext cx="5785913" cy="434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ctr" anchorCtr="0">
            <a:noAutofit/>
          </a:bodyPr>
          <a:lstStyle>
            <a:lvl1pPr marL="380985" lvl="0" indent="-190492" algn="l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000" b="1">
                <a:solidFill>
                  <a:schemeClr val="accent3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761970" lvl="1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2954" lvl="2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523939" lvl="3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904924" lvl="4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5909" lvl="5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666893" lvl="6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047878" lvl="7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428863" lvl="8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 dirty="0"/>
              <a:t>Sub-Head (24pt)</a:t>
            </a:r>
            <a:endParaRPr dirty="0"/>
          </a:p>
        </p:txBody>
      </p:sp>
      <p:sp>
        <p:nvSpPr>
          <p:cNvPr id="9" name="Content Placeholder 11">
            <a:extLst>
              <a:ext uri="{FF2B5EF4-FFF2-40B4-BE49-F238E27FC236}">
                <a16:creationId xmlns:a16="http://schemas.microsoft.com/office/drawing/2014/main" id="{7490026E-D7A2-4C4C-BFDB-458619D49F7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227840" y="1361282"/>
            <a:ext cx="5785846" cy="3802063"/>
          </a:xfrm>
        </p:spPr>
        <p:txBody>
          <a:bodyPr/>
          <a:lstStyle>
            <a:lvl1pPr marL="95246" indent="0">
              <a:buClr>
                <a:srgbClr val="002060"/>
              </a:buClr>
              <a:buSzPct val="100000"/>
              <a:buFont typeface="Arial" panose="020B0604020202020204" pitchFamily="34" charset="0"/>
              <a:buNone/>
              <a:defRPr sz="2000">
                <a:solidFill>
                  <a:schemeClr val="accent6"/>
                </a:solidFill>
              </a:defRPr>
            </a:lvl1pPr>
            <a:lvl2pPr>
              <a:buClr>
                <a:srgbClr val="002060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rgbClr val="002060"/>
              </a:buClr>
              <a:defRPr sz="1333">
                <a:solidFill>
                  <a:schemeClr val="accent6"/>
                </a:solidFill>
              </a:defRPr>
            </a:lvl3pPr>
            <a:lvl4pPr>
              <a:buClr>
                <a:srgbClr val="002060"/>
              </a:buClr>
              <a:defRPr sz="1167"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793505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spital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oogle Shape;85;p84" descr="A picture containing hospital room, room&#10;&#10;Description automatically generated">
            <a:extLst>
              <a:ext uri="{FF2B5EF4-FFF2-40B4-BE49-F238E27FC236}">
                <a16:creationId xmlns:a16="http://schemas.microsoft.com/office/drawing/2014/main" id="{C2018FAB-4872-D04C-BA8A-E2FC66DC7C44}"/>
              </a:ext>
            </a:extLst>
          </p:cNvPr>
          <p:cNvPicPr preferRelativeResize="0"/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19500" y="0"/>
            <a:ext cx="85725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Google Shape;86;p84">
            <a:extLst>
              <a:ext uri="{FF2B5EF4-FFF2-40B4-BE49-F238E27FC236}">
                <a16:creationId xmlns:a16="http://schemas.microsoft.com/office/drawing/2014/main" id="{192FE058-85B5-F14F-8116-83F414FA4BBA}"/>
              </a:ext>
            </a:extLst>
          </p:cNvPr>
          <p:cNvPicPr preferRelativeResize="0"/>
          <p:nvPr userDrawn="1"/>
        </p:nvPicPr>
        <p:blipFill rotWithShape="1">
          <a:blip r:embed="rId3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796925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F5932958-4DCD-854D-A1CD-49EDF39318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000" y="365145"/>
            <a:ext cx="5445442" cy="486025"/>
          </a:xfrm>
        </p:spPr>
        <p:txBody>
          <a:bodyPr anchor="t"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Google Shape;141;p50">
            <a:extLst>
              <a:ext uri="{FF2B5EF4-FFF2-40B4-BE49-F238E27FC236}">
                <a16:creationId xmlns:a16="http://schemas.microsoft.com/office/drawing/2014/main" id="{ACDBB5A1-3324-674F-A116-E9AF497E7315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472000" y="737569"/>
            <a:ext cx="5445442" cy="434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ctr" anchorCtr="0">
            <a:noAutofit/>
          </a:bodyPr>
          <a:lstStyle>
            <a:lvl1pPr marL="380985" lvl="0" indent="-190492" algn="l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000" b="1">
                <a:solidFill>
                  <a:schemeClr val="accent3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761970" lvl="1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2954" lvl="2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523939" lvl="3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904924" lvl="4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5909" lvl="5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666893" lvl="6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047878" lvl="7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428863" lvl="8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 dirty="0"/>
              <a:t>Sub-Head (24pt)</a:t>
            </a:r>
            <a:endParaRPr dirty="0"/>
          </a:p>
        </p:txBody>
      </p:sp>
      <p:sp>
        <p:nvSpPr>
          <p:cNvPr id="18" name="Content Placeholder 11">
            <a:extLst>
              <a:ext uri="{FF2B5EF4-FFF2-40B4-BE49-F238E27FC236}">
                <a16:creationId xmlns:a16="http://schemas.microsoft.com/office/drawing/2014/main" id="{C1AD98C6-121D-2C47-AD0D-BB35B88AA31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72282" y="1361282"/>
            <a:ext cx="5445378" cy="3802063"/>
          </a:xfrm>
        </p:spPr>
        <p:txBody>
          <a:bodyPr/>
          <a:lstStyle>
            <a:lvl1pPr marL="95246" indent="0">
              <a:buClr>
                <a:srgbClr val="002060"/>
              </a:buClr>
              <a:buSzPct val="100000"/>
              <a:buFont typeface="Arial" panose="020B0604020202020204" pitchFamily="34" charset="0"/>
              <a:buNone/>
              <a:defRPr sz="2000">
                <a:solidFill>
                  <a:schemeClr val="accent6"/>
                </a:solidFill>
              </a:defRPr>
            </a:lvl1pPr>
            <a:lvl2pPr>
              <a:buClr>
                <a:srgbClr val="002060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rgbClr val="002060"/>
              </a:buClr>
              <a:defRPr sz="1333">
                <a:solidFill>
                  <a:schemeClr val="accent6"/>
                </a:solidFill>
              </a:defRPr>
            </a:lvl3pPr>
            <a:lvl4pPr>
              <a:buClr>
                <a:srgbClr val="002060"/>
              </a:buClr>
              <a:defRPr sz="1167"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93377923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op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93A45E8-90A7-D14C-9719-4D411FABE2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20008" y="0"/>
            <a:ext cx="7371992" cy="6858000"/>
          </a:xfrm>
          <a:prstGeom prst="rect">
            <a:avLst/>
          </a:prstGeom>
        </p:spPr>
      </p:pic>
      <p:sp>
        <p:nvSpPr>
          <p:cNvPr id="4" name="Google Shape;101;p44">
            <a:extLst>
              <a:ext uri="{FF2B5EF4-FFF2-40B4-BE49-F238E27FC236}">
                <a16:creationId xmlns:a16="http://schemas.microsoft.com/office/drawing/2014/main" id="{E0260AFC-A380-5C4F-8F17-24165C4C4910}"/>
              </a:ext>
            </a:extLst>
          </p:cNvPr>
          <p:cNvSpPr txBox="1"/>
          <p:nvPr userDrawn="1"/>
        </p:nvSpPr>
        <p:spPr>
          <a:xfrm>
            <a:off x="306455" y="6387042"/>
            <a:ext cx="6886046" cy="117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833" b="0" i="0" u="none" strike="noStrike" cap="none">
                <a:solidFill>
                  <a:srgbClr val="A7A9AC"/>
                </a:solidFill>
                <a:latin typeface="Calibri"/>
                <a:ea typeface="Calibri"/>
                <a:cs typeface="Calibri"/>
                <a:sym typeface="Calibri"/>
              </a:rPr>
              <a:t>© 2021 Vyaire. Vyaire and the Vyaire logo are trademarks or registered trademarks of Vyaire Medical, Inc., or one of its affiliates.</a:t>
            </a:r>
            <a:endParaRPr sz="1500"/>
          </a:p>
        </p:txBody>
      </p:sp>
      <p:pic>
        <p:nvPicPr>
          <p:cNvPr id="5" name="Picture 4" descr="Chart, pie chart&#10;&#10;Description automatically generated">
            <a:extLst>
              <a:ext uri="{FF2B5EF4-FFF2-40B4-BE49-F238E27FC236}">
                <a16:creationId xmlns:a16="http://schemas.microsoft.com/office/drawing/2014/main" id="{0E97FFDD-3896-E44E-81BE-4D12CEDF36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9681"/>
          <a:stretch/>
        </p:blipFill>
        <p:spPr>
          <a:xfrm>
            <a:off x="0" y="0"/>
            <a:ext cx="9792511" cy="685800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AE14EB82-B4D8-8049-BA38-C6BF5B27AD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000" y="365145"/>
            <a:ext cx="5437335" cy="486025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Google Shape;141;p50">
            <a:extLst>
              <a:ext uri="{FF2B5EF4-FFF2-40B4-BE49-F238E27FC236}">
                <a16:creationId xmlns:a16="http://schemas.microsoft.com/office/drawing/2014/main" id="{2E519DD5-5207-7D4E-AEF8-8EE0D189D39C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472000" y="737569"/>
            <a:ext cx="5437335" cy="434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ctr" anchorCtr="0">
            <a:noAutofit/>
          </a:bodyPr>
          <a:lstStyle>
            <a:lvl1pPr marL="380985" lvl="0" indent="-190492" algn="l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000" b="1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761970" lvl="1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2954" lvl="2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523939" lvl="3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904924" lvl="4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5909" lvl="5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666893" lvl="6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047878" lvl="7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428863" lvl="8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 dirty="0"/>
              <a:t>Sub-Head (24pt)</a:t>
            </a:r>
            <a:endParaRPr dirty="0"/>
          </a:p>
        </p:txBody>
      </p:sp>
      <p:sp>
        <p:nvSpPr>
          <p:cNvPr id="8" name="Content Placeholder 11">
            <a:extLst>
              <a:ext uri="{FF2B5EF4-FFF2-40B4-BE49-F238E27FC236}">
                <a16:creationId xmlns:a16="http://schemas.microsoft.com/office/drawing/2014/main" id="{0A07B83D-C568-BA41-94AE-BEFF5E8C8A3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72282" y="1361282"/>
            <a:ext cx="5437272" cy="3802063"/>
          </a:xfrm>
        </p:spPr>
        <p:txBody>
          <a:bodyPr/>
          <a:lstStyle>
            <a:lvl1pPr marL="95246" indent="0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333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67">
                <a:solidFill>
                  <a:schemeClr val="bg1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20310680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spital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oogle Shape;98;p44" descr="A picture containing person, scene, hospital room, room&#10;&#10;Description automatically generated">
            <a:extLst>
              <a:ext uri="{FF2B5EF4-FFF2-40B4-BE49-F238E27FC236}">
                <a16:creationId xmlns:a16="http://schemas.microsoft.com/office/drawing/2014/main" id="{CC6338F2-16F5-BB49-9521-81D342D212CF}"/>
              </a:ext>
            </a:extLst>
          </p:cNvPr>
          <p:cNvPicPr preferRelativeResize="0"/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07612" y="0"/>
            <a:ext cx="6684388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Google Shape;101;p44">
            <a:extLst>
              <a:ext uri="{FF2B5EF4-FFF2-40B4-BE49-F238E27FC236}">
                <a16:creationId xmlns:a16="http://schemas.microsoft.com/office/drawing/2014/main" id="{71767D6A-501F-824A-A923-EB26A86C9EE7}"/>
              </a:ext>
            </a:extLst>
          </p:cNvPr>
          <p:cNvSpPr txBox="1"/>
          <p:nvPr userDrawn="1"/>
        </p:nvSpPr>
        <p:spPr>
          <a:xfrm>
            <a:off x="306455" y="6387042"/>
            <a:ext cx="6886046" cy="117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833" b="0" i="0" u="none" strike="noStrike" cap="none">
                <a:solidFill>
                  <a:srgbClr val="A7A9AC"/>
                </a:solidFill>
                <a:latin typeface="Calibri"/>
                <a:ea typeface="Calibri"/>
                <a:cs typeface="Calibri"/>
                <a:sym typeface="Calibri"/>
              </a:rPr>
              <a:t>© 2021 Vyaire. Vyaire and the Vyaire logo are trademarks or registered trademarks of Vyaire Medical, Inc., or one of its affiliates.</a:t>
            </a:r>
            <a:endParaRPr sz="1500"/>
          </a:p>
        </p:txBody>
      </p:sp>
      <p:pic>
        <p:nvPicPr>
          <p:cNvPr id="4" name="Picture 3" descr="Chart, pie chart&#10;&#10;Description automatically generated">
            <a:extLst>
              <a:ext uri="{FF2B5EF4-FFF2-40B4-BE49-F238E27FC236}">
                <a16:creationId xmlns:a16="http://schemas.microsoft.com/office/drawing/2014/main" id="{CFBF75AD-142E-8E42-AB89-BEF6351F931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19FCFD76-7409-9947-8B68-ABAFD56F5F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000" y="365145"/>
            <a:ext cx="5437335" cy="486025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Google Shape;141;p50">
            <a:extLst>
              <a:ext uri="{FF2B5EF4-FFF2-40B4-BE49-F238E27FC236}">
                <a16:creationId xmlns:a16="http://schemas.microsoft.com/office/drawing/2014/main" id="{77A36290-EE00-C94D-862F-991819AEF64B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472000" y="737569"/>
            <a:ext cx="5437335" cy="434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ctr" anchorCtr="0">
            <a:noAutofit/>
          </a:bodyPr>
          <a:lstStyle>
            <a:lvl1pPr marL="380985" lvl="0" indent="-190492" algn="l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000" b="1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761970" lvl="1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2954" lvl="2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523939" lvl="3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904924" lvl="4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5909" lvl="5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666893" lvl="6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047878" lvl="7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428863" lvl="8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 dirty="0"/>
              <a:t>Sub-Head (24pt)</a:t>
            </a:r>
            <a:endParaRPr dirty="0"/>
          </a:p>
        </p:txBody>
      </p:sp>
      <p:sp>
        <p:nvSpPr>
          <p:cNvPr id="7" name="Content Placeholder 11">
            <a:extLst>
              <a:ext uri="{FF2B5EF4-FFF2-40B4-BE49-F238E27FC236}">
                <a16:creationId xmlns:a16="http://schemas.microsoft.com/office/drawing/2014/main" id="{92E72A22-5512-4B41-8DFB-C01B2825C9E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72282" y="1361282"/>
            <a:ext cx="5437272" cy="3802063"/>
          </a:xfrm>
        </p:spPr>
        <p:txBody>
          <a:bodyPr/>
          <a:lstStyle>
            <a:lvl1pPr marL="95246" indent="0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333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67">
                <a:solidFill>
                  <a:schemeClr val="bg1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442909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oogle Shape;72;p83">
            <a:extLst>
              <a:ext uri="{FF2B5EF4-FFF2-40B4-BE49-F238E27FC236}">
                <a16:creationId xmlns:a16="http://schemas.microsoft.com/office/drawing/2014/main" id="{615C103A-796C-7A47-8386-0BE384679F3B}"/>
              </a:ext>
            </a:extLst>
          </p:cNvPr>
          <p:cNvPicPr preferRelativeResize="0"/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22750" y="0"/>
            <a:ext cx="796925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Google Shape;73;p83">
            <a:extLst>
              <a:ext uri="{FF2B5EF4-FFF2-40B4-BE49-F238E27FC236}">
                <a16:creationId xmlns:a16="http://schemas.microsoft.com/office/drawing/2014/main" id="{AA716F1D-C461-954B-884C-16D0C606D4B7}"/>
              </a:ext>
            </a:extLst>
          </p:cNvPr>
          <p:cNvSpPr txBox="1"/>
          <p:nvPr userDrawn="1"/>
        </p:nvSpPr>
        <p:spPr>
          <a:xfrm>
            <a:off x="306455" y="6387042"/>
            <a:ext cx="6886046" cy="117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833" b="0" i="0" u="none" strike="noStrike" cap="none">
                <a:solidFill>
                  <a:srgbClr val="A7A9AC"/>
                </a:solidFill>
                <a:latin typeface="Calibri"/>
                <a:ea typeface="Calibri"/>
                <a:cs typeface="Calibri"/>
                <a:sym typeface="Calibri"/>
              </a:rPr>
              <a:t>© 2021 Vyaire. Vyaire and the Vyaire logo are trademarks or registered trademarks of Vyaire Medical, Inc., or one of its affiliates.</a:t>
            </a:r>
            <a:endParaRPr sz="1500"/>
          </a:p>
        </p:txBody>
      </p:sp>
      <p:sp>
        <p:nvSpPr>
          <p:cNvPr id="5" name="Google Shape;76;p83">
            <a:extLst>
              <a:ext uri="{FF2B5EF4-FFF2-40B4-BE49-F238E27FC236}">
                <a16:creationId xmlns:a16="http://schemas.microsoft.com/office/drawing/2014/main" id="{CC1F4248-29B4-324F-8E26-5F8E331B472D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713052" y="1856052"/>
            <a:ext cx="3919802" cy="35388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500" b="0" i="0" u="none" strike="noStrike" cap="none">
                <a:solidFill>
                  <a:srgbClr val="002060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88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88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88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88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Insert product shot</a:t>
            </a:r>
            <a:endParaRPr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9A32721-C61C-6B40-9CE6-E4D5C947EF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7558" y="365145"/>
            <a:ext cx="5785913" cy="486025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Google Shape;141;p50">
            <a:extLst>
              <a:ext uri="{FF2B5EF4-FFF2-40B4-BE49-F238E27FC236}">
                <a16:creationId xmlns:a16="http://schemas.microsoft.com/office/drawing/2014/main" id="{B2D0089B-B630-FF47-BAE4-8BF39051225E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6227558" y="737569"/>
            <a:ext cx="5785913" cy="434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ctr" anchorCtr="0">
            <a:noAutofit/>
          </a:bodyPr>
          <a:lstStyle>
            <a:lvl1pPr marL="380985" lvl="0" indent="-190492" algn="l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000" b="1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761970" lvl="1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2954" lvl="2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523939" lvl="3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904924" lvl="4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5909" lvl="5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666893" lvl="6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047878" lvl="7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428863" lvl="8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 dirty="0"/>
              <a:t>Sub-Head (24pt)</a:t>
            </a:r>
            <a:endParaRPr dirty="0"/>
          </a:p>
        </p:txBody>
      </p:sp>
      <p:sp>
        <p:nvSpPr>
          <p:cNvPr id="8" name="Content Placeholder 11">
            <a:extLst>
              <a:ext uri="{FF2B5EF4-FFF2-40B4-BE49-F238E27FC236}">
                <a16:creationId xmlns:a16="http://schemas.microsoft.com/office/drawing/2014/main" id="{5317D05D-09A9-B740-9953-F3E229396EE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227840" y="1361282"/>
            <a:ext cx="5785846" cy="3802063"/>
          </a:xfrm>
        </p:spPr>
        <p:txBody>
          <a:bodyPr/>
          <a:lstStyle>
            <a:lvl1pPr marL="95246" indent="0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333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67">
                <a:solidFill>
                  <a:schemeClr val="bg1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86509189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Left 4" preserve="1" userDrawn="1">
  <p:cSld name="Photo Left 4"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Venn diagram&#10;&#10;Description automatically generated with low confidence">
            <a:extLst>
              <a:ext uri="{FF2B5EF4-FFF2-40B4-BE49-F238E27FC236}">
                <a16:creationId xmlns:a16="http://schemas.microsoft.com/office/drawing/2014/main" id="{C47422FB-2150-D34B-81F1-0D5B0C88FE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3" name="Google Shape;73;p83"/>
          <p:cNvSpPr txBox="1"/>
          <p:nvPr/>
        </p:nvSpPr>
        <p:spPr>
          <a:xfrm>
            <a:off x="306455" y="6387042"/>
            <a:ext cx="6886046" cy="117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833" b="0" i="0" u="none" strike="noStrike" cap="none">
                <a:solidFill>
                  <a:srgbClr val="A7A9AC"/>
                </a:solidFill>
                <a:latin typeface="Calibri"/>
                <a:ea typeface="Calibri"/>
                <a:cs typeface="Calibri"/>
                <a:sym typeface="Calibri"/>
              </a:rPr>
              <a:t>© 2021 Vyaire. Vyaire and the Vyaire logo are trademarks or registered trademarks of Vyaire Medical, Inc., or one of its affiliates.</a:t>
            </a:r>
            <a:endParaRPr sz="1500"/>
          </a:p>
        </p:txBody>
      </p:sp>
      <p:sp>
        <p:nvSpPr>
          <p:cNvPr id="76" name="Google Shape;76;p83"/>
          <p:cNvSpPr>
            <a:spLocks noGrp="1"/>
          </p:cNvSpPr>
          <p:nvPr>
            <p:ph type="pic" idx="2" hasCustomPrompt="1"/>
          </p:nvPr>
        </p:nvSpPr>
        <p:spPr>
          <a:xfrm>
            <a:off x="713052" y="1856052"/>
            <a:ext cx="3919802" cy="35388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500" b="0" i="0" u="none" strike="noStrike" cap="none">
                <a:solidFill>
                  <a:srgbClr val="002060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88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88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88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88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Insert product shot</a:t>
            </a:r>
            <a:endParaRPr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0A512D3-FA9E-7A45-821C-D8B8249DA3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7558" y="365145"/>
            <a:ext cx="5785913" cy="486025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Google Shape;141;p50">
            <a:extLst>
              <a:ext uri="{FF2B5EF4-FFF2-40B4-BE49-F238E27FC236}">
                <a16:creationId xmlns:a16="http://schemas.microsoft.com/office/drawing/2014/main" id="{8795F155-C768-CA46-9347-2A00B5D470A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6227558" y="737569"/>
            <a:ext cx="5785913" cy="434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ctr" anchorCtr="0">
            <a:noAutofit/>
          </a:bodyPr>
          <a:lstStyle>
            <a:lvl1pPr marL="380985" lvl="0" indent="-190492" algn="l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000" b="1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761970" lvl="1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2954" lvl="2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523939" lvl="3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904924" lvl="4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5909" lvl="5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666893" lvl="6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047878" lvl="7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428863" lvl="8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 dirty="0"/>
              <a:t>Sub-Head (24pt)</a:t>
            </a:r>
            <a:endParaRPr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9BD677FA-59A8-0743-99FD-3E4C7FBDAF0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227840" y="1361282"/>
            <a:ext cx="5785846" cy="3802063"/>
          </a:xfrm>
        </p:spPr>
        <p:txBody>
          <a:bodyPr/>
          <a:lstStyle>
            <a:lvl1pPr marL="95246" indent="0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333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67">
                <a:solidFill>
                  <a:schemeClr val="bg1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1474223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BALT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icon&#10;&#10;Description automatically generated">
            <a:extLst>
              <a:ext uri="{FF2B5EF4-FFF2-40B4-BE49-F238E27FC236}">
                <a16:creationId xmlns:a16="http://schemas.microsoft.com/office/drawing/2014/main" id="{4F164381-A3A5-E049-AD80-FC989549D2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Google Shape;13;p29">
            <a:extLst>
              <a:ext uri="{FF2B5EF4-FFF2-40B4-BE49-F238E27FC236}">
                <a16:creationId xmlns:a16="http://schemas.microsoft.com/office/drawing/2014/main" id="{A90FD86B-DEFA-D54C-AFD4-E218B1A85527}"/>
              </a:ext>
            </a:extLst>
          </p:cNvPr>
          <p:cNvPicPr preferRelativeResize="0"/>
          <p:nvPr userDrawn="1"/>
        </p:nvPicPr>
        <p:blipFill rotWithShape="1">
          <a:blip r:embed="rId3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5542" y="740834"/>
            <a:ext cx="3540125" cy="775918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Google Shape;14;p29">
            <a:extLst>
              <a:ext uri="{FF2B5EF4-FFF2-40B4-BE49-F238E27FC236}">
                <a16:creationId xmlns:a16="http://schemas.microsoft.com/office/drawing/2014/main" id="{5677D95A-2E28-4D4A-95B2-31E0A5945A64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735542" y="2178129"/>
            <a:ext cx="5171017" cy="17737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25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83"/>
              </a:spcBef>
              <a:spcAft>
                <a:spcPts val="0"/>
              </a:spcAft>
              <a:buClr>
                <a:schemeClr val="accent2"/>
              </a:buClr>
              <a:buSzPts val="4600"/>
              <a:buFont typeface="Calibri"/>
              <a:buNone/>
              <a:defRPr sz="3833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" name="Google Shape;15;p29">
            <a:extLst>
              <a:ext uri="{FF2B5EF4-FFF2-40B4-BE49-F238E27FC236}">
                <a16:creationId xmlns:a16="http://schemas.microsoft.com/office/drawing/2014/main" id="{5118A9A4-E193-FC42-BB2C-0107D5840E96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765969" y="4794251"/>
            <a:ext cx="4605073" cy="4355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rgbClr val="A7A9AC"/>
              </a:buClr>
              <a:buSzPts val="2200"/>
              <a:buNone/>
              <a:defRPr sz="1833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ctr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3200"/>
              <a:buNone/>
              <a:defRPr sz="2667"/>
            </a:lvl2pPr>
            <a:lvl3pPr lvl="2" algn="ctr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880"/>
              <a:buNone/>
              <a:defRPr sz="2400"/>
            </a:lvl3pPr>
            <a:lvl4pPr lvl="3" algn="ctr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560"/>
              <a:buNone/>
              <a:defRPr sz="2133"/>
            </a:lvl4pPr>
            <a:lvl5pPr lvl="4" algn="ctr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560"/>
              <a:buNone/>
              <a:defRPr sz="2133"/>
            </a:lvl5pPr>
            <a:lvl6pPr lvl="5" algn="ctr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560"/>
              <a:buNone/>
              <a:defRPr sz="2133"/>
            </a:lvl6pPr>
            <a:lvl7pPr lvl="6" algn="ctr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560"/>
              <a:buNone/>
              <a:defRPr sz="2133"/>
            </a:lvl7pPr>
            <a:lvl8pPr lvl="7" algn="ctr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560"/>
              <a:buNone/>
              <a:defRPr sz="2133"/>
            </a:lvl8pPr>
            <a:lvl9pPr lvl="8" algn="ctr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560"/>
              <a:buNone/>
              <a:defRPr sz="2133"/>
            </a:lvl9pPr>
          </a:lstStyle>
          <a:p>
            <a:endParaRPr/>
          </a:p>
        </p:txBody>
      </p:sp>
      <p:sp>
        <p:nvSpPr>
          <p:cNvPr id="11" name="Google Shape;51;p35">
            <a:extLst>
              <a:ext uri="{FF2B5EF4-FFF2-40B4-BE49-F238E27FC236}">
                <a16:creationId xmlns:a16="http://schemas.microsoft.com/office/drawing/2014/main" id="{DD20A82F-C8BF-E84E-8D35-5EF35E8AE775}"/>
              </a:ext>
            </a:extLst>
          </p:cNvPr>
          <p:cNvSpPr txBox="1"/>
          <p:nvPr userDrawn="1"/>
        </p:nvSpPr>
        <p:spPr>
          <a:xfrm>
            <a:off x="345648" y="6387044"/>
            <a:ext cx="6886046" cy="117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833" b="0" i="0" u="none" strike="noStrike" cap="none" dirty="0">
                <a:solidFill>
                  <a:srgbClr val="A7A9AC"/>
                </a:solidFill>
                <a:latin typeface="Calibri"/>
                <a:ea typeface="Calibri"/>
                <a:cs typeface="Calibri"/>
                <a:sym typeface="Calibri"/>
              </a:rPr>
              <a:t>© 2021 Vyaire. Vyaire and the Vyaire logo are trademarks or registered trademarks of Vyaire Medical, Inc., or one of its affiliates.</a:t>
            </a:r>
            <a:endParaRPr sz="1500" dirty="0"/>
          </a:p>
        </p:txBody>
      </p:sp>
    </p:spTree>
    <p:extLst>
      <p:ext uri="{BB962C8B-B14F-4D97-AF65-F5344CB8AC3E}">
        <p14:creationId xmlns:p14="http://schemas.microsoft.com/office/powerpoint/2010/main" val="207267408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Photo slide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91;p85">
            <a:extLst>
              <a:ext uri="{FF2B5EF4-FFF2-40B4-BE49-F238E27FC236}">
                <a16:creationId xmlns:a16="http://schemas.microsoft.com/office/drawing/2014/main" id="{DD58A7D4-B4FE-C341-926E-F1BB3BEC4B4A}"/>
              </a:ext>
            </a:extLst>
          </p:cNvPr>
          <p:cNvSpPr/>
          <p:nvPr userDrawn="1"/>
        </p:nvSpPr>
        <p:spPr>
          <a:xfrm>
            <a:off x="6708496" y="0"/>
            <a:ext cx="5483754" cy="6858000"/>
          </a:xfrm>
          <a:custGeom>
            <a:avLst/>
            <a:gdLst/>
            <a:ahLst/>
            <a:cxnLst/>
            <a:rect l="l" t="t" r="r" b="b"/>
            <a:pathLst>
              <a:path w="6580505" h="8229600" extrusionOk="0">
                <a:moveTo>
                  <a:pt x="6580205" y="0"/>
                </a:moveTo>
                <a:lnTo>
                  <a:pt x="2244933" y="0"/>
                </a:lnTo>
                <a:lnTo>
                  <a:pt x="2211808" y="36009"/>
                </a:lnTo>
                <a:lnTo>
                  <a:pt x="2178905" y="72199"/>
                </a:lnTo>
                <a:lnTo>
                  <a:pt x="2146223" y="108567"/>
                </a:lnTo>
                <a:lnTo>
                  <a:pt x="2113765" y="145112"/>
                </a:lnTo>
                <a:lnTo>
                  <a:pt x="2081529" y="181833"/>
                </a:lnTo>
                <a:lnTo>
                  <a:pt x="2049518" y="218730"/>
                </a:lnTo>
                <a:lnTo>
                  <a:pt x="2017730" y="255800"/>
                </a:lnTo>
                <a:lnTo>
                  <a:pt x="1986168" y="293044"/>
                </a:lnTo>
                <a:lnTo>
                  <a:pt x="1954832" y="330458"/>
                </a:lnTo>
                <a:lnTo>
                  <a:pt x="1923721" y="368043"/>
                </a:lnTo>
                <a:lnTo>
                  <a:pt x="1892837" y="405798"/>
                </a:lnTo>
                <a:lnTo>
                  <a:pt x="1862181" y="443720"/>
                </a:lnTo>
                <a:lnTo>
                  <a:pt x="1831752" y="481809"/>
                </a:lnTo>
                <a:lnTo>
                  <a:pt x="1801552" y="520064"/>
                </a:lnTo>
                <a:lnTo>
                  <a:pt x="1771580" y="558484"/>
                </a:lnTo>
                <a:lnTo>
                  <a:pt x="1741839" y="597067"/>
                </a:lnTo>
                <a:lnTo>
                  <a:pt x="1712327" y="635812"/>
                </a:lnTo>
                <a:lnTo>
                  <a:pt x="1683046" y="674718"/>
                </a:lnTo>
                <a:lnTo>
                  <a:pt x="1653996" y="713784"/>
                </a:lnTo>
                <a:lnTo>
                  <a:pt x="1625178" y="753009"/>
                </a:lnTo>
                <a:lnTo>
                  <a:pt x="1596592" y="792391"/>
                </a:lnTo>
                <a:lnTo>
                  <a:pt x="1568240" y="831930"/>
                </a:lnTo>
                <a:lnTo>
                  <a:pt x="1540121" y="871624"/>
                </a:lnTo>
                <a:lnTo>
                  <a:pt x="1512236" y="911472"/>
                </a:lnTo>
                <a:lnTo>
                  <a:pt x="1484585" y="951473"/>
                </a:lnTo>
                <a:lnTo>
                  <a:pt x="1457170" y="991625"/>
                </a:lnTo>
                <a:lnTo>
                  <a:pt x="1429991" y="1031928"/>
                </a:lnTo>
                <a:lnTo>
                  <a:pt x="1403048" y="1072381"/>
                </a:lnTo>
                <a:lnTo>
                  <a:pt x="1376342" y="1112982"/>
                </a:lnTo>
                <a:lnTo>
                  <a:pt x="1349873" y="1153729"/>
                </a:lnTo>
                <a:lnTo>
                  <a:pt x="1323642" y="1194623"/>
                </a:lnTo>
                <a:lnTo>
                  <a:pt x="1297651" y="1235662"/>
                </a:lnTo>
                <a:lnTo>
                  <a:pt x="1271898" y="1276844"/>
                </a:lnTo>
                <a:lnTo>
                  <a:pt x="1246385" y="1318168"/>
                </a:lnTo>
                <a:lnTo>
                  <a:pt x="1221113" y="1359634"/>
                </a:lnTo>
                <a:lnTo>
                  <a:pt x="1196081" y="1401239"/>
                </a:lnTo>
                <a:lnTo>
                  <a:pt x="1171291" y="1442984"/>
                </a:lnTo>
                <a:lnTo>
                  <a:pt x="1146743" y="1484866"/>
                </a:lnTo>
                <a:lnTo>
                  <a:pt x="1122437" y="1526885"/>
                </a:lnTo>
                <a:lnTo>
                  <a:pt x="1098375" y="1569039"/>
                </a:lnTo>
                <a:lnTo>
                  <a:pt x="1074557" y="1611328"/>
                </a:lnTo>
                <a:lnTo>
                  <a:pt x="1050983" y="1653749"/>
                </a:lnTo>
                <a:lnTo>
                  <a:pt x="1027653" y="1696303"/>
                </a:lnTo>
                <a:lnTo>
                  <a:pt x="1004570" y="1738987"/>
                </a:lnTo>
                <a:lnTo>
                  <a:pt x="981732" y="1781800"/>
                </a:lnTo>
                <a:lnTo>
                  <a:pt x="959141" y="1824743"/>
                </a:lnTo>
                <a:lnTo>
                  <a:pt x="936797" y="1867812"/>
                </a:lnTo>
                <a:lnTo>
                  <a:pt x="914701" y="1911007"/>
                </a:lnTo>
                <a:lnTo>
                  <a:pt x="892853" y="1954328"/>
                </a:lnTo>
                <a:lnTo>
                  <a:pt x="871254" y="1997772"/>
                </a:lnTo>
                <a:lnTo>
                  <a:pt x="849905" y="2041338"/>
                </a:lnTo>
                <a:lnTo>
                  <a:pt x="828805" y="2085026"/>
                </a:lnTo>
                <a:lnTo>
                  <a:pt x="807956" y="2128835"/>
                </a:lnTo>
                <a:lnTo>
                  <a:pt x="787359" y="2172762"/>
                </a:lnTo>
                <a:lnTo>
                  <a:pt x="767013" y="2216807"/>
                </a:lnTo>
                <a:lnTo>
                  <a:pt x="746919" y="2260969"/>
                </a:lnTo>
                <a:lnTo>
                  <a:pt x="727078" y="2305247"/>
                </a:lnTo>
                <a:lnTo>
                  <a:pt x="707491" y="2349639"/>
                </a:lnTo>
                <a:lnTo>
                  <a:pt x="688158" y="2394144"/>
                </a:lnTo>
                <a:lnTo>
                  <a:pt x="669079" y="2438761"/>
                </a:lnTo>
                <a:lnTo>
                  <a:pt x="650255" y="2483489"/>
                </a:lnTo>
                <a:lnTo>
                  <a:pt x="631687" y="2528327"/>
                </a:lnTo>
                <a:lnTo>
                  <a:pt x="613376" y="2573274"/>
                </a:lnTo>
                <a:lnTo>
                  <a:pt x="595321" y="2618327"/>
                </a:lnTo>
                <a:lnTo>
                  <a:pt x="577524" y="2663487"/>
                </a:lnTo>
                <a:lnTo>
                  <a:pt x="559985" y="2708753"/>
                </a:lnTo>
                <a:lnTo>
                  <a:pt x="542704" y="2754122"/>
                </a:lnTo>
                <a:lnTo>
                  <a:pt x="525682" y="2799594"/>
                </a:lnTo>
                <a:lnTo>
                  <a:pt x="508920" y="2845167"/>
                </a:lnTo>
                <a:lnTo>
                  <a:pt x="492419" y="2890841"/>
                </a:lnTo>
                <a:lnTo>
                  <a:pt x="476178" y="2936614"/>
                </a:lnTo>
                <a:lnTo>
                  <a:pt x="460199" y="2982485"/>
                </a:lnTo>
                <a:lnTo>
                  <a:pt x="444481" y="3028453"/>
                </a:lnTo>
                <a:lnTo>
                  <a:pt x="429027" y="3074517"/>
                </a:lnTo>
                <a:lnTo>
                  <a:pt x="413835" y="3120675"/>
                </a:lnTo>
                <a:lnTo>
                  <a:pt x="398907" y="3166927"/>
                </a:lnTo>
                <a:lnTo>
                  <a:pt x="384243" y="3213271"/>
                </a:lnTo>
                <a:lnTo>
                  <a:pt x="369844" y="3259706"/>
                </a:lnTo>
                <a:lnTo>
                  <a:pt x="355711" y="3306231"/>
                </a:lnTo>
                <a:lnTo>
                  <a:pt x="341843" y="3352845"/>
                </a:lnTo>
                <a:lnTo>
                  <a:pt x="328242" y="3399546"/>
                </a:lnTo>
                <a:lnTo>
                  <a:pt x="314908" y="3446334"/>
                </a:lnTo>
                <a:lnTo>
                  <a:pt x="301842" y="3493207"/>
                </a:lnTo>
                <a:lnTo>
                  <a:pt x="289044" y="3540164"/>
                </a:lnTo>
                <a:lnTo>
                  <a:pt x="276515" y="3587204"/>
                </a:lnTo>
                <a:lnTo>
                  <a:pt x="264255" y="3634325"/>
                </a:lnTo>
                <a:lnTo>
                  <a:pt x="252265" y="3681528"/>
                </a:lnTo>
                <a:lnTo>
                  <a:pt x="240546" y="3728810"/>
                </a:lnTo>
                <a:lnTo>
                  <a:pt x="229098" y="3776169"/>
                </a:lnTo>
                <a:lnTo>
                  <a:pt x="217921" y="3823607"/>
                </a:lnTo>
                <a:lnTo>
                  <a:pt x="207017" y="3871120"/>
                </a:lnTo>
                <a:lnTo>
                  <a:pt x="196386" y="3918707"/>
                </a:lnTo>
                <a:lnTo>
                  <a:pt x="186027" y="3966369"/>
                </a:lnTo>
                <a:lnTo>
                  <a:pt x="175943" y="4014102"/>
                </a:lnTo>
                <a:lnTo>
                  <a:pt x="166133" y="4061907"/>
                </a:lnTo>
                <a:lnTo>
                  <a:pt x="156599" y="4109782"/>
                </a:lnTo>
                <a:lnTo>
                  <a:pt x="147340" y="4157726"/>
                </a:lnTo>
                <a:lnTo>
                  <a:pt x="138357" y="4205738"/>
                </a:lnTo>
                <a:lnTo>
                  <a:pt x="129651" y="4253816"/>
                </a:lnTo>
                <a:lnTo>
                  <a:pt x="121222" y="4301960"/>
                </a:lnTo>
                <a:lnTo>
                  <a:pt x="113072" y="4350168"/>
                </a:lnTo>
                <a:lnTo>
                  <a:pt x="105199" y="4398439"/>
                </a:lnTo>
                <a:lnTo>
                  <a:pt x="97606" y="4446772"/>
                </a:lnTo>
                <a:lnTo>
                  <a:pt x="90293" y="4495166"/>
                </a:lnTo>
                <a:lnTo>
                  <a:pt x="83259" y="4543620"/>
                </a:lnTo>
                <a:lnTo>
                  <a:pt x="76507" y="4592131"/>
                </a:lnTo>
                <a:lnTo>
                  <a:pt x="70036" y="4640700"/>
                </a:lnTo>
                <a:lnTo>
                  <a:pt x="63846" y="4689326"/>
                </a:lnTo>
                <a:lnTo>
                  <a:pt x="57940" y="4738006"/>
                </a:lnTo>
                <a:lnTo>
                  <a:pt x="52316" y="4786739"/>
                </a:lnTo>
                <a:lnTo>
                  <a:pt x="46976" y="4835526"/>
                </a:lnTo>
                <a:lnTo>
                  <a:pt x="41920" y="4884364"/>
                </a:lnTo>
                <a:lnTo>
                  <a:pt x="37148" y="4933252"/>
                </a:lnTo>
                <a:lnTo>
                  <a:pt x="32662" y="4982189"/>
                </a:lnTo>
                <a:lnTo>
                  <a:pt x="28462" y="5031174"/>
                </a:lnTo>
                <a:lnTo>
                  <a:pt x="24549" y="5080206"/>
                </a:lnTo>
                <a:lnTo>
                  <a:pt x="20922" y="5129284"/>
                </a:lnTo>
                <a:lnTo>
                  <a:pt x="17583" y="5178406"/>
                </a:lnTo>
                <a:lnTo>
                  <a:pt x="14533" y="5227571"/>
                </a:lnTo>
                <a:lnTo>
                  <a:pt x="11771" y="5276778"/>
                </a:lnTo>
                <a:lnTo>
                  <a:pt x="9298" y="5326026"/>
                </a:lnTo>
                <a:lnTo>
                  <a:pt x="7115" y="5375314"/>
                </a:lnTo>
                <a:lnTo>
                  <a:pt x="5223" y="5424641"/>
                </a:lnTo>
                <a:lnTo>
                  <a:pt x="3621" y="5474005"/>
                </a:lnTo>
                <a:lnTo>
                  <a:pt x="2311" y="5523405"/>
                </a:lnTo>
                <a:lnTo>
                  <a:pt x="1294" y="5572841"/>
                </a:lnTo>
                <a:lnTo>
                  <a:pt x="569" y="5622310"/>
                </a:lnTo>
                <a:lnTo>
                  <a:pt x="137" y="5671812"/>
                </a:lnTo>
                <a:lnTo>
                  <a:pt x="0" y="5721346"/>
                </a:lnTo>
                <a:lnTo>
                  <a:pt x="156" y="5770910"/>
                </a:lnTo>
                <a:lnTo>
                  <a:pt x="608" y="5820503"/>
                </a:lnTo>
                <a:lnTo>
                  <a:pt x="1355" y="5870125"/>
                </a:lnTo>
                <a:lnTo>
                  <a:pt x="2398" y="5919773"/>
                </a:lnTo>
                <a:lnTo>
                  <a:pt x="3739" y="5969447"/>
                </a:lnTo>
                <a:lnTo>
                  <a:pt x="5376" y="6019146"/>
                </a:lnTo>
                <a:lnTo>
                  <a:pt x="7311" y="6068868"/>
                </a:lnTo>
                <a:lnTo>
                  <a:pt x="9545" y="6118613"/>
                </a:lnTo>
                <a:lnTo>
                  <a:pt x="12077" y="6168378"/>
                </a:lnTo>
                <a:lnTo>
                  <a:pt x="14910" y="6218164"/>
                </a:lnTo>
                <a:lnTo>
                  <a:pt x="18042" y="6267968"/>
                </a:lnTo>
                <a:lnTo>
                  <a:pt x="21475" y="6317790"/>
                </a:lnTo>
                <a:lnTo>
                  <a:pt x="25209" y="6367629"/>
                </a:lnTo>
                <a:lnTo>
                  <a:pt x="29245" y="6417482"/>
                </a:lnTo>
                <a:lnTo>
                  <a:pt x="33584" y="6467350"/>
                </a:lnTo>
                <a:lnTo>
                  <a:pt x="38225" y="6517231"/>
                </a:lnTo>
                <a:lnTo>
                  <a:pt x="43170" y="6567123"/>
                </a:lnTo>
                <a:lnTo>
                  <a:pt x="48419" y="6617026"/>
                </a:lnTo>
                <a:lnTo>
                  <a:pt x="53973" y="6666939"/>
                </a:lnTo>
                <a:lnTo>
                  <a:pt x="59832" y="6716860"/>
                </a:lnTo>
                <a:lnTo>
                  <a:pt x="65997" y="6766788"/>
                </a:lnTo>
                <a:lnTo>
                  <a:pt x="72468" y="6816722"/>
                </a:lnTo>
                <a:lnTo>
                  <a:pt x="79246" y="6866660"/>
                </a:lnTo>
                <a:lnTo>
                  <a:pt x="86332" y="6916602"/>
                </a:lnTo>
                <a:lnTo>
                  <a:pt x="93726" y="6966547"/>
                </a:lnTo>
                <a:lnTo>
                  <a:pt x="101428" y="7016493"/>
                </a:lnTo>
                <a:lnTo>
                  <a:pt x="109440" y="7066439"/>
                </a:lnTo>
                <a:lnTo>
                  <a:pt x="117761" y="7116384"/>
                </a:lnTo>
                <a:lnTo>
                  <a:pt x="126393" y="7166327"/>
                </a:lnTo>
                <a:lnTo>
                  <a:pt x="135336" y="7216267"/>
                </a:lnTo>
                <a:lnTo>
                  <a:pt x="144192" y="7264666"/>
                </a:lnTo>
                <a:lnTo>
                  <a:pt x="153342" y="7313055"/>
                </a:lnTo>
                <a:lnTo>
                  <a:pt x="162788" y="7361433"/>
                </a:lnTo>
                <a:lnTo>
                  <a:pt x="172531" y="7409798"/>
                </a:lnTo>
                <a:lnTo>
                  <a:pt x="182571" y="7458151"/>
                </a:lnTo>
                <a:lnTo>
                  <a:pt x="192910" y="7506490"/>
                </a:lnTo>
                <a:lnTo>
                  <a:pt x="203549" y="7554816"/>
                </a:lnTo>
                <a:lnTo>
                  <a:pt x="214489" y="7603127"/>
                </a:lnTo>
                <a:lnTo>
                  <a:pt x="225730" y="7651423"/>
                </a:lnTo>
                <a:lnTo>
                  <a:pt x="237273" y="7699704"/>
                </a:lnTo>
                <a:lnTo>
                  <a:pt x="249121" y="7747968"/>
                </a:lnTo>
                <a:lnTo>
                  <a:pt x="261273" y="7796216"/>
                </a:lnTo>
                <a:lnTo>
                  <a:pt x="273730" y="7844446"/>
                </a:lnTo>
                <a:lnTo>
                  <a:pt x="286494" y="7892659"/>
                </a:lnTo>
                <a:lnTo>
                  <a:pt x="299566" y="7940853"/>
                </a:lnTo>
                <a:lnTo>
                  <a:pt x="312946" y="7989029"/>
                </a:lnTo>
                <a:lnTo>
                  <a:pt x="326636" y="8037184"/>
                </a:lnTo>
                <a:lnTo>
                  <a:pt x="340636" y="8085320"/>
                </a:lnTo>
                <a:lnTo>
                  <a:pt x="354948" y="8133434"/>
                </a:lnTo>
                <a:lnTo>
                  <a:pt x="369572" y="8181528"/>
                </a:lnTo>
                <a:lnTo>
                  <a:pt x="384510" y="8229600"/>
                </a:lnTo>
                <a:lnTo>
                  <a:pt x="6580205" y="8229600"/>
                </a:lnTo>
                <a:lnTo>
                  <a:pt x="6580205" y="0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1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" name="Google Shape;92;p85">
            <a:extLst>
              <a:ext uri="{FF2B5EF4-FFF2-40B4-BE49-F238E27FC236}">
                <a16:creationId xmlns:a16="http://schemas.microsoft.com/office/drawing/2014/main" id="{18E75BC9-3A18-2E4D-A788-C073E1BD6FCB}"/>
              </a:ext>
            </a:extLst>
          </p:cNvPr>
          <p:cNvSpPr txBox="1"/>
          <p:nvPr userDrawn="1"/>
        </p:nvSpPr>
        <p:spPr>
          <a:xfrm>
            <a:off x="306455" y="6387042"/>
            <a:ext cx="6886046" cy="117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833" b="0" i="0" u="none" strike="noStrike" cap="none">
                <a:solidFill>
                  <a:srgbClr val="A7A9AC"/>
                </a:solidFill>
                <a:latin typeface="Calibri"/>
                <a:ea typeface="Calibri"/>
                <a:cs typeface="Calibri"/>
                <a:sym typeface="Calibri"/>
              </a:rPr>
              <a:t>© 2021 Vyaire. Vyaire and the Vyaire logo are trademarks or registered trademarks of Vyaire Medical, Inc., or one of its affiliates.</a:t>
            </a:r>
            <a:endParaRPr sz="1500"/>
          </a:p>
        </p:txBody>
      </p:sp>
      <p:sp>
        <p:nvSpPr>
          <p:cNvPr id="5" name="Google Shape;95;p85">
            <a:extLst>
              <a:ext uri="{FF2B5EF4-FFF2-40B4-BE49-F238E27FC236}">
                <a16:creationId xmlns:a16="http://schemas.microsoft.com/office/drawing/2014/main" id="{40527C7D-389D-A048-B0AD-54C7812E8133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7571052" y="2225146"/>
            <a:ext cx="4411927" cy="33297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500" b="0" i="0" u="none" strike="noStrike" cap="none">
                <a:solidFill>
                  <a:srgbClr val="002060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88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88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88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88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pic>
        <p:nvPicPr>
          <p:cNvPr id="6" name="Google Shape;96;p85">
            <a:extLst>
              <a:ext uri="{FF2B5EF4-FFF2-40B4-BE49-F238E27FC236}">
                <a16:creationId xmlns:a16="http://schemas.microsoft.com/office/drawing/2014/main" id="{47878A45-9E26-0345-A356-F19407954CAB}"/>
              </a:ext>
            </a:extLst>
          </p:cNvPr>
          <p:cNvPicPr preferRelativeResize="0"/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93802" y="6375789"/>
            <a:ext cx="1528252" cy="337269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2D7D2C18-29A3-0A44-835F-9935D2ACD4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000" y="365145"/>
            <a:ext cx="5931830" cy="486025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Google Shape;141;p50">
            <a:extLst>
              <a:ext uri="{FF2B5EF4-FFF2-40B4-BE49-F238E27FC236}">
                <a16:creationId xmlns:a16="http://schemas.microsoft.com/office/drawing/2014/main" id="{C142A271-E914-8B4F-825C-594EA0E09A69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472000" y="737569"/>
            <a:ext cx="5931830" cy="434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ctr" anchorCtr="0">
            <a:noAutofit/>
          </a:bodyPr>
          <a:lstStyle>
            <a:lvl1pPr marL="380985" lvl="0" indent="-190492" algn="l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000" b="1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761970" lvl="1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2954" lvl="2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523939" lvl="3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904924" lvl="4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5909" lvl="5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666893" lvl="6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047878" lvl="7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428863" lvl="8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 dirty="0"/>
              <a:t>Sub-Head (24pt)</a:t>
            </a:r>
            <a:endParaRPr dirty="0"/>
          </a:p>
        </p:txBody>
      </p:sp>
      <p:sp>
        <p:nvSpPr>
          <p:cNvPr id="9" name="Content Placeholder 11">
            <a:extLst>
              <a:ext uri="{FF2B5EF4-FFF2-40B4-BE49-F238E27FC236}">
                <a16:creationId xmlns:a16="http://schemas.microsoft.com/office/drawing/2014/main" id="{8E62EC43-BFFF-1A49-9EAF-1B9F5DF4635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72282" y="1361282"/>
            <a:ext cx="5931761" cy="3802063"/>
          </a:xfrm>
        </p:spPr>
        <p:txBody>
          <a:bodyPr/>
          <a:lstStyle>
            <a:lvl1pPr marL="95246" indent="0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333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67">
                <a:solidFill>
                  <a:schemeClr val="bg1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1102827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111;p46">
            <a:extLst>
              <a:ext uri="{FF2B5EF4-FFF2-40B4-BE49-F238E27FC236}">
                <a16:creationId xmlns:a16="http://schemas.microsoft.com/office/drawing/2014/main" id="{C6C45255-E6AC-F443-BFF0-F3E21A135333}"/>
              </a:ext>
            </a:extLst>
          </p:cNvPr>
          <p:cNvSpPr/>
          <p:nvPr userDrawn="1"/>
        </p:nvSpPr>
        <p:spPr>
          <a:xfrm>
            <a:off x="6708496" y="0"/>
            <a:ext cx="5483754" cy="6858000"/>
          </a:xfrm>
          <a:custGeom>
            <a:avLst/>
            <a:gdLst/>
            <a:ahLst/>
            <a:cxnLst/>
            <a:rect l="l" t="t" r="r" b="b"/>
            <a:pathLst>
              <a:path w="6580505" h="8229600" extrusionOk="0">
                <a:moveTo>
                  <a:pt x="6580205" y="0"/>
                </a:moveTo>
                <a:lnTo>
                  <a:pt x="2244933" y="0"/>
                </a:lnTo>
                <a:lnTo>
                  <a:pt x="2211808" y="36009"/>
                </a:lnTo>
                <a:lnTo>
                  <a:pt x="2178905" y="72199"/>
                </a:lnTo>
                <a:lnTo>
                  <a:pt x="2146223" y="108567"/>
                </a:lnTo>
                <a:lnTo>
                  <a:pt x="2113765" y="145112"/>
                </a:lnTo>
                <a:lnTo>
                  <a:pt x="2081529" y="181833"/>
                </a:lnTo>
                <a:lnTo>
                  <a:pt x="2049518" y="218730"/>
                </a:lnTo>
                <a:lnTo>
                  <a:pt x="2017730" y="255800"/>
                </a:lnTo>
                <a:lnTo>
                  <a:pt x="1986168" y="293044"/>
                </a:lnTo>
                <a:lnTo>
                  <a:pt x="1954832" y="330458"/>
                </a:lnTo>
                <a:lnTo>
                  <a:pt x="1923721" y="368043"/>
                </a:lnTo>
                <a:lnTo>
                  <a:pt x="1892837" y="405798"/>
                </a:lnTo>
                <a:lnTo>
                  <a:pt x="1862181" y="443720"/>
                </a:lnTo>
                <a:lnTo>
                  <a:pt x="1831752" y="481809"/>
                </a:lnTo>
                <a:lnTo>
                  <a:pt x="1801552" y="520064"/>
                </a:lnTo>
                <a:lnTo>
                  <a:pt x="1771580" y="558484"/>
                </a:lnTo>
                <a:lnTo>
                  <a:pt x="1741839" y="597067"/>
                </a:lnTo>
                <a:lnTo>
                  <a:pt x="1712327" y="635812"/>
                </a:lnTo>
                <a:lnTo>
                  <a:pt x="1683046" y="674718"/>
                </a:lnTo>
                <a:lnTo>
                  <a:pt x="1653996" y="713784"/>
                </a:lnTo>
                <a:lnTo>
                  <a:pt x="1625178" y="753009"/>
                </a:lnTo>
                <a:lnTo>
                  <a:pt x="1596592" y="792391"/>
                </a:lnTo>
                <a:lnTo>
                  <a:pt x="1568240" y="831930"/>
                </a:lnTo>
                <a:lnTo>
                  <a:pt x="1540121" y="871624"/>
                </a:lnTo>
                <a:lnTo>
                  <a:pt x="1512236" y="911472"/>
                </a:lnTo>
                <a:lnTo>
                  <a:pt x="1484585" y="951473"/>
                </a:lnTo>
                <a:lnTo>
                  <a:pt x="1457170" y="991625"/>
                </a:lnTo>
                <a:lnTo>
                  <a:pt x="1429991" y="1031928"/>
                </a:lnTo>
                <a:lnTo>
                  <a:pt x="1403048" y="1072381"/>
                </a:lnTo>
                <a:lnTo>
                  <a:pt x="1376342" y="1112982"/>
                </a:lnTo>
                <a:lnTo>
                  <a:pt x="1349873" y="1153729"/>
                </a:lnTo>
                <a:lnTo>
                  <a:pt x="1323642" y="1194623"/>
                </a:lnTo>
                <a:lnTo>
                  <a:pt x="1297651" y="1235662"/>
                </a:lnTo>
                <a:lnTo>
                  <a:pt x="1271898" y="1276844"/>
                </a:lnTo>
                <a:lnTo>
                  <a:pt x="1246385" y="1318168"/>
                </a:lnTo>
                <a:lnTo>
                  <a:pt x="1221113" y="1359634"/>
                </a:lnTo>
                <a:lnTo>
                  <a:pt x="1196081" y="1401239"/>
                </a:lnTo>
                <a:lnTo>
                  <a:pt x="1171291" y="1442984"/>
                </a:lnTo>
                <a:lnTo>
                  <a:pt x="1146743" y="1484866"/>
                </a:lnTo>
                <a:lnTo>
                  <a:pt x="1122437" y="1526885"/>
                </a:lnTo>
                <a:lnTo>
                  <a:pt x="1098375" y="1569039"/>
                </a:lnTo>
                <a:lnTo>
                  <a:pt x="1074557" y="1611328"/>
                </a:lnTo>
                <a:lnTo>
                  <a:pt x="1050983" y="1653749"/>
                </a:lnTo>
                <a:lnTo>
                  <a:pt x="1027653" y="1696303"/>
                </a:lnTo>
                <a:lnTo>
                  <a:pt x="1004570" y="1738987"/>
                </a:lnTo>
                <a:lnTo>
                  <a:pt x="981732" y="1781800"/>
                </a:lnTo>
                <a:lnTo>
                  <a:pt x="959141" y="1824743"/>
                </a:lnTo>
                <a:lnTo>
                  <a:pt x="936797" y="1867812"/>
                </a:lnTo>
                <a:lnTo>
                  <a:pt x="914701" y="1911007"/>
                </a:lnTo>
                <a:lnTo>
                  <a:pt x="892853" y="1954328"/>
                </a:lnTo>
                <a:lnTo>
                  <a:pt x="871254" y="1997772"/>
                </a:lnTo>
                <a:lnTo>
                  <a:pt x="849905" y="2041338"/>
                </a:lnTo>
                <a:lnTo>
                  <a:pt x="828805" y="2085026"/>
                </a:lnTo>
                <a:lnTo>
                  <a:pt x="807956" y="2128835"/>
                </a:lnTo>
                <a:lnTo>
                  <a:pt x="787359" y="2172762"/>
                </a:lnTo>
                <a:lnTo>
                  <a:pt x="767013" y="2216807"/>
                </a:lnTo>
                <a:lnTo>
                  <a:pt x="746919" y="2260969"/>
                </a:lnTo>
                <a:lnTo>
                  <a:pt x="727078" y="2305247"/>
                </a:lnTo>
                <a:lnTo>
                  <a:pt x="707491" y="2349639"/>
                </a:lnTo>
                <a:lnTo>
                  <a:pt x="688158" y="2394144"/>
                </a:lnTo>
                <a:lnTo>
                  <a:pt x="669079" y="2438761"/>
                </a:lnTo>
                <a:lnTo>
                  <a:pt x="650255" y="2483489"/>
                </a:lnTo>
                <a:lnTo>
                  <a:pt x="631687" y="2528327"/>
                </a:lnTo>
                <a:lnTo>
                  <a:pt x="613376" y="2573274"/>
                </a:lnTo>
                <a:lnTo>
                  <a:pt x="595321" y="2618327"/>
                </a:lnTo>
                <a:lnTo>
                  <a:pt x="577524" y="2663487"/>
                </a:lnTo>
                <a:lnTo>
                  <a:pt x="559985" y="2708753"/>
                </a:lnTo>
                <a:lnTo>
                  <a:pt x="542704" y="2754122"/>
                </a:lnTo>
                <a:lnTo>
                  <a:pt x="525682" y="2799594"/>
                </a:lnTo>
                <a:lnTo>
                  <a:pt x="508920" y="2845167"/>
                </a:lnTo>
                <a:lnTo>
                  <a:pt x="492419" y="2890841"/>
                </a:lnTo>
                <a:lnTo>
                  <a:pt x="476178" y="2936614"/>
                </a:lnTo>
                <a:lnTo>
                  <a:pt x="460199" y="2982485"/>
                </a:lnTo>
                <a:lnTo>
                  <a:pt x="444481" y="3028453"/>
                </a:lnTo>
                <a:lnTo>
                  <a:pt x="429027" y="3074517"/>
                </a:lnTo>
                <a:lnTo>
                  <a:pt x="413835" y="3120675"/>
                </a:lnTo>
                <a:lnTo>
                  <a:pt x="398907" y="3166927"/>
                </a:lnTo>
                <a:lnTo>
                  <a:pt x="384243" y="3213271"/>
                </a:lnTo>
                <a:lnTo>
                  <a:pt x="369844" y="3259706"/>
                </a:lnTo>
                <a:lnTo>
                  <a:pt x="355711" y="3306231"/>
                </a:lnTo>
                <a:lnTo>
                  <a:pt x="341843" y="3352845"/>
                </a:lnTo>
                <a:lnTo>
                  <a:pt x="328242" y="3399546"/>
                </a:lnTo>
                <a:lnTo>
                  <a:pt x="314908" y="3446334"/>
                </a:lnTo>
                <a:lnTo>
                  <a:pt x="301842" y="3493207"/>
                </a:lnTo>
                <a:lnTo>
                  <a:pt x="289044" y="3540164"/>
                </a:lnTo>
                <a:lnTo>
                  <a:pt x="276515" y="3587204"/>
                </a:lnTo>
                <a:lnTo>
                  <a:pt x="264255" y="3634325"/>
                </a:lnTo>
                <a:lnTo>
                  <a:pt x="252265" y="3681528"/>
                </a:lnTo>
                <a:lnTo>
                  <a:pt x="240546" y="3728810"/>
                </a:lnTo>
                <a:lnTo>
                  <a:pt x="229098" y="3776169"/>
                </a:lnTo>
                <a:lnTo>
                  <a:pt x="217921" y="3823607"/>
                </a:lnTo>
                <a:lnTo>
                  <a:pt x="207017" y="3871120"/>
                </a:lnTo>
                <a:lnTo>
                  <a:pt x="196386" y="3918707"/>
                </a:lnTo>
                <a:lnTo>
                  <a:pt x="186027" y="3966369"/>
                </a:lnTo>
                <a:lnTo>
                  <a:pt x="175943" y="4014102"/>
                </a:lnTo>
                <a:lnTo>
                  <a:pt x="166133" y="4061907"/>
                </a:lnTo>
                <a:lnTo>
                  <a:pt x="156599" y="4109782"/>
                </a:lnTo>
                <a:lnTo>
                  <a:pt x="147340" y="4157726"/>
                </a:lnTo>
                <a:lnTo>
                  <a:pt x="138357" y="4205738"/>
                </a:lnTo>
                <a:lnTo>
                  <a:pt x="129651" y="4253816"/>
                </a:lnTo>
                <a:lnTo>
                  <a:pt x="121222" y="4301960"/>
                </a:lnTo>
                <a:lnTo>
                  <a:pt x="113072" y="4350168"/>
                </a:lnTo>
                <a:lnTo>
                  <a:pt x="105199" y="4398439"/>
                </a:lnTo>
                <a:lnTo>
                  <a:pt x="97606" y="4446772"/>
                </a:lnTo>
                <a:lnTo>
                  <a:pt x="90293" y="4495166"/>
                </a:lnTo>
                <a:lnTo>
                  <a:pt x="83259" y="4543620"/>
                </a:lnTo>
                <a:lnTo>
                  <a:pt x="76507" y="4592131"/>
                </a:lnTo>
                <a:lnTo>
                  <a:pt x="70036" y="4640700"/>
                </a:lnTo>
                <a:lnTo>
                  <a:pt x="63846" y="4689326"/>
                </a:lnTo>
                <a:lnTo>
                  <a:pt x="57940" y="4738006"/>
                </a:lnTo>
                <a:lnTo>
                  <a:pt x="52316" y="4786739"/>
                </a:lnTo>
                <a:lnTo>
                  <a:pt x="46976" y="4835526"/>
                </a:lnTo>
                <a:lnTo>
                  <a:pt x="41920" y="4884364"/>
                </a:lnTo>
                <a:lnTo>
                  <a:pt x="37148" y="4933252"/>
                </a:lnTo>
                <a:lnTo>
                  <a:pt x="32662" y="4982189"/>
                </a:lnTo>
                <a:lnTo>
                  <a:pt x="28462" y="5031174"/>
                </a:lnTo>
                <a:lnTo>
                  <a:pt x="24549" y="5080206"/>
                </a:lnTo>
                <a:lnTo>
                  <a:pt x="20922" y="5129284"/>
                </a:lnTo>
                <a:lnTo>
                  <a:pt x="17583" y="5178406"/>
                </a:lnTo>
                <a:lnTo>
                  <a:pt x="14533" y="5227571"/>
                </a:lnTo>
                <a:lnTo>
                  <a:pt x="11771" y="5276778"/>
                </a:lnTo>
                <a:lnTo>
                  <a:pt x="9298" y="5326026"/>
                </a:lnTo>
                <a:lnTo>
                  <a:pt x="7115" y="5375314"/>
                </a:lnTo>
                <a:lnTo>
                  <a:pt x="5223" y="5424641"/>
                </a:lnTo>
                <a:lnTo>
                  <a:pt x="3621" y="5474005"/>
                </a:lnTo>
                <a:lnTo>
                  <a:pt x="2311" y="5523405"/>
                </a:lnTo>
                <a:lnTo>
                  <a:pt x="1294" y="5572841"/>
                </a:lnTo>
                <a:lnTo>
                  <a:pt x="569" y="5622310"/>
                </a:lnTo>
                <a:lnTo>
                  <a:pt x="137" y="5671812"/>
                </a:lnTo>
                <a:lnTo>
                  <a:pt x="0" y="5721346"/>
                </a:lnTo>
                <a:lnTo>
                  <a:pt x="156" y="5770910"/>
                </a:lnTo>
                <a:lnTo>
                  <a:pt x="608" y="5820503"/>
                </a:lnTo>
                <a:lnTo>
                  <a:pt x="1355" y="5870125"/>
                </a:lnTo>
                <a:lnTo>
                  <a:pt x="2398" y="5919773"/>
                </a:lnTo>
                <a:lnTo>
                  <a:pt x="3739" y="5969447"/>
                </a:lnTo>
                <a:lnTo>
                  <a:pt x="5376" y="6019146"/>
                </a:lnTo>
                <a:lnTo>
                  <a:pt x="7311" y="6068868"/>
                </a:lnTo>
                <a:lnTo>
                  <a:pt x="9545" y="6118613"/>
                </a:lnTo>
                <a:lnTo>
                  <a:pt x="12077" y="6168378"/>
                </a:lnTo>
                <a:lnTo>
                  <a:pt x="14910" y="6218164"/>
                </a:lnTo>
                <a:lnTo>
                  <a:pt x="18042" y="6267968"/>
                </a:lnTo>
                <a:lnTo>
                  <a:pt x="21475" y="6317790"/>
                </a:lnTo>
                <a:lnTo>
                  <a:pt x="25209" y="6367629"/>
                </a:lnTo>
                <a:lnTo>
                  <a:pt x="29245" y="6417482"/>
                </a:lnTo>
                <a:lnTo>
                  <a:pt x="33584" y="6467350"/>
                </a:lnTo>
                <a:lnTo>
                  <a:pt x="38225" y="6517231"/>
                </a:lnTo>
                <a:lnTo>
                  <a:pt x="43170" y="6567123"/>
                </a:lnTo>
                <a:lnTo>
                  <a:pt x="48419" y="6617026"/>
                </a:lnTo>
                <a:lnTo>
                  <a:pt x="53973" y="6666939"/>
                </a:lnTo>
                <a:lnTo>
                  <a:pt x="59832" y="6716860"/>
                </a:lnTo>
                <a:lnTo>
                  <a:pt x="65997" y="6766788"/>
                </a:lnTo>
                <a:lnTo>
                  <a:pt x="72468" y="6816722"/>
                </a:lnTo>
                <a:lnTo>
                  <a:pt x="79246" y="6866660"/>
                </a:lnTo>
                <a:lnTo>
                  <a:pt x="86332" y="6916602"/>
                </a:lnTo>
                <a:lnTo>
                  <a:pt x="93726" y="6966547"/>
                </a:lnTo>
                <a:lnTo>
                  <a:pt x="101428" y="7016493"/>
                </a:lnTo>
                <a:lnTo>
                  <a:pt x="109440" y="7066439"/>
                </a:lnTo>
                <a:lnTo>
                  <a:pt x="117761" y="7116384"/>
                </a:lnTo>
                <a:lnTo>
                  <a:pt x="126393" y="7166327"/>
                </a:lnTo>
                <a:lnTo>
                  <a:pt x="135336" y="7216267"/>
                </a:lnTo>
                <a:lnTo>
                  <a:pt x="144192" y="7264666"/>
                </a:lnTo>
                <a:lnTo>
                  <a:pt x="153342" y="7313055"/>
                </a:lnTo>
                <a:lnTo>
                  <a:pt x="162788" y="7361433"/>
                </a:lnTo>
                <a:lnTo>
                  <a:pt x="172531" y="7409798"/>
                </a:lnTo>
                <a:lnTo>
                  <a:pt x="182571" y="7458151"/>
                </a:lnTo>
                <a:lnTo>
                  <a:pt x="192910" y="7506490"/>
                </a:lnTo>
                <a:lnTo>
                  <a:pt x="203549" y="7554816"/>
                </a:lnTo>
                <a:lnTo>
                  <a:pt x="214489" y="7603127"/>
                </a:lnTo>
                <a:lnTo>
                  <a:pt x="225730" y="7651423"/>
                </a:lnTo>
                <a:lnTo>
                  <a:pt x="237273" y="7699704"/>
                </a:lnTo>
                <a:lnTo>
                  <a:pt x="249121" y="7747968"/>
                </a:lnTo>
                <a:lnTo>
                  <a:pt x="261273" y="7796216"/>
                </a:lnTo>
                <a:lnTo>
                  <a:pt x="273730" y="7844446"/>
                </a:lnTo>
                <a:lnTo>
                  <a:pt x="286494" y="7892659"/>
                </a:lnTo>
                <a:lnTo>
                  <a:pt x="299566" y="7940853"/>
                </a:lnTo>
                <a:lnTo>
                  <a:pt x="312946" y="7989029"/>
                </a:lnTo>
                <a:lnTo>
                  <a:pt x="326636" y="8037184"/>
                </a:lnTo>
                <a:lnTo>
                  <a:pt x="340636" y="8085320"/>
                </a:lnTo>
                <a:lnTo>
                  <a:pt x="354948" y="8133434"/>
                </a:lnTo>
                <a:lnTo>
                  <a:pt x="369572" y="8181528"/>
                </a:lnTo>
                <a:lnTo>
                  <a:pt x="384510" y="8229600"/>
                </a:lnTo>
                <a:lnTo>
                  <a:pt x="6580205" y="8229600"/>
                </a:lnTo>
                <a:lnTo>
                  <a:pt x="6580205" y="0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1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" name="Google Shape;112;p46">
            <a:extLst>
              <a:ext uri="{FF2B5EF4-FFF2-40B4-BE49-F238E27FC236}">
                <a16:creationId xmlns:a16="http://schemas.microsoft.com/office/drawing/2014/main" id="{AA2E7DF0-C52B-EE40-AC3A-9AF55A5F92B1}"/>
              </a:ext>
            </a:extLst>
          </p:cNvPr>
          <p:cNvSpPr txBox="1"/>
          <p:nvPr userDrawn="1"/>
        </p:nvSpPr>
        <p:spPr>
          <a:xfrm>
            <a:off x="306455" y="6387042"/>
            <a:ext cx="6886046" cy="117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833" b="0" i="0" u="none" strike="noStrike" cap="none">
                <a:solidFill>
                  <a:srgbClr val="A7A9AC"/>
                </a:solidFill>
                <a:latin typeface="Calibri"/>
                <a:ea typeface="Calibri"/>
                <a:cs typeface="Calibri"/>
                <a:sym typeface="Calibri"/>
              </a:rPr>
              <a:t>© 2021 Vyaire. Vyaire and the Vyaire logo are trademarks or registered trademarks of Vyaire Medical, Inc., or one of its affiliates.</a:t>
            </a:r>
            <a:endParaRPr sz="1500"/>
          </a:p>
        </p:txBody>
      </p:sp>
      <p:sp>
        <p:nvSpPr>
          <p:cNvPr id="5" name="Google Shape;113;p46">
            <a:extLst>
              <a:ext uri="{FF2B5EF4-FFF2-40B4-BE49-F238E27FC236}">
                <a16:creationId xmlns:a16="http://schemas.microsoft.com/office/drawing/2014/main" id="{B6884794-C6D8-034F-9A56-049C1DA4586B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7963959" y="2876021"/>
            <a:ext cx="1363928" cy="713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88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88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88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88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" name="Google Shape;114;p46">
            <a:extLst>
              <a:ext uri="{FF2B5EF4-FFF2-40B4-BE49-F238E27FC236}">
                <a16:creationId xmlns:a16="http://schemas.microsoft.com/office/drawing/2014/main" id="{893ADA57-92BD-5A44-A10A-4E732F0DF068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0139086" y="2876021"/>
            <a:ext cx="1363928" cy="713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88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88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88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88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115;p46">
            <a:extLst>
              <a:ext uri="{FF2B5EF4-FFF2-40B4-BE49-F238E27FC236}">
                <a16:creationId xmlns:a16="http://schemas.microsoft.com/office/drawing/2014/main" id="{3E0D42A8-6AA1-D843-B765-1EEBB8F669A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7963959" y="3798094"/>
            <a:ext cx="1363928" cy="5397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noAutofit/>
          </a:bodyPr>
          <a:lstStyle>
            <a:lvl1pPr marL="380985" lvl="0" indent="-190492" algn="l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SzPts val="1800"/>
              <a:buNone/>
              <a:defRPr b="1">
                <a:solidFill>
                  <a:schemeClr val="accent6"/>
                </a:solidFill>
              </a:defRPr>
            </a:lvl1pPr>
            <a:lvl2pPr marL="761970" lvl="1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1800"/>
              <a:buChar char="•"/>
              <a:defRPr/>
            </a:lvl2pPr>
            <a:lvl3pPr marL="1142954" lvl="2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1800"/>
              <a:buChar char="•"/>
              <a:defRPr/>
            </a:lvl3pPr>
            <a:lvl4pPr marL="1523939" lvl="3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1800"/>
              <a:buChar char="•"/>
              <a:defRPr/>
            </a:lvl4pPr>
            <a:lvl5pPr marL="1904924" lvl="4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1800"/>
              <a:buChar char="•"/>
              <a:defRPr/>
            </a:lvl5pPr>
            <a:lvl6pPr marL="2285909" lvl="5" indent="-342885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880"/>
              <a:buChar char="•"/>
              <a:defRPr/>
            </a:lvl6pPr>
            <a:lvl7pPr marL="2666893" lvl="6" indent="-342885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880"/>
              <a:buChar char="•"/>
              <a:defRPr/>
            </a:lvl7pPr>
            <a:lvl8pPr marL="3047878" lvl="7" indent="-342885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880"/>
              <a:buChar char="•"/>
              <a:defRPr/>
            </a:lvl8pPr>
            <a:lvl9pPr marL="3428863" lvl="8" indent="-342885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880"/>
              <a:buChar char="•"/>
              <a:defRPr/>
            </a:lvl9pPr>
          </a:lstStyle>
          <a:p>
            <a:endParaRPr/>
          </a:p>
        </p:txBody>
      </p:sp>
      <p:sp>
        <p:nvSpPr>
          <p:cNvPr id="8" name="Google Shape;116;p46">
            <a:extLst>
              <a:ext uri="{FF2B5EF4-FFF2-40B4-BE49-F238E27FC236}">
                <a16:creationId xmlns:a16="http://schemas.microsoft.com/office/drawing/2014/main" id="{5549ED0F-3E89-4342-9D1F-923A117B84FC}"/>
              </a:ext>
            </a:extLst>
          </p:cNvPr>
          <p:cNvSpPr txBox="1">
            <a:spLocks noGrp="1"/>
          </p:cNvSpPr>
          <p:nvPr>
            <p:ph type="body" idx="4"/>
          </p:nvPr>
        </p:nvSpPr>
        <p:spPr>
          <a:xfrm>
            <a:off x="10118864" y="3802194"/>
            <a:ext cx="1363928" cy="5397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noAutofit/>
          </a:bodyPr>
          <a:lstStyle>
            <a:lvl1pPr marL="380985" lvl="0" indent="-190492" algn="l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SzPts val="1800"/>
              <a:buNone/>
              <a:defRPr b="1">
                <a:solidFill>
                  <a:schemeClr val="accent6"/>
                </a:solidFill>
              </a:defRPr>
            </a:lvl1pPr>
            <a:lvl2pPr marL="761970" lvl="1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1800"/>
              <a:buChar char="•"/>
              <a:defRPr/>
            </a:lvl2pPr>
            <a:lvl3pPr marL="1142954" lvl="2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1800"/>
              <a:buChar char="•"/>
              <a:defRPr/>
            </a:lvl3pPr>
            <a:lvl4pPr marL="1523939" lvl="3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1800"/>
              <a:buChar char="•"/>
              <a:defRPr/>
            </a:lvl4pPr>
            <a:lvl5pPr marL="1904924" lvl="4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1800"/>
              <a:buChar char="•"/>
              <a:defRPr/>
            </a:lvl5pPr>
            <a:lvl6pPr marL="2285909" lvl="5" indent="-342885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880"/>
              <a:buChar char="•"/>
              <a:defRPr/>
            </a:lvl6pPr>
            <a:lvl7pPr marL="2666893" lvl="6" indent="-342885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880"/>
              <a:buChar char="•"/>
              <a:defRPr/>
            </a:lvl7pPr>
            <a:lvl8pPr marL="3047878" lvl="7" indent="-342885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880"/>
              <a:buChar char="•"/>
              <a:defRPr/>
            </a:lvl8pPr>
            <a:lvl9pPr marL="3428863" lvl="8" indent="-342885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880"/>
              <a:buChar char="•"/>
              <a:defRPr/>
            </a:lvl9pPr>
          </a:lstStyle>
          <a:p>
            <a:endParaRPr/>
          </a:p>
        </p:txBody>
      </p:sp>
      <p:pic>
        <p:nvPicPr>
          <p:cNvPr id="9" name="Google Shape;117;p46">
            <a:extLst>
              <a:ext uri="{FF2B5EF4-FFF2-40B4-BE49-F238E27FC236}">
                <a16:creationId xmlns:a16="http://schemas.microsoft.com/office/drawing/2014/main" id="{0E9F23FC-7627-6844-8971-CCB2AFE76BFD}"/>
              </a:ext>
            </a:extLst>
          </p:cNvPr>
          <p:cNvPicPr preferRelativeResize="0"/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93802" y="6375789"/>
            <a:ext cx="1528252" cy="337269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7C113721-0FE1-0B41-89FF-C9DB2A1419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000" y="365145"/>
            <a:ext cx="5931830" cy="486025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Google Shape;141;p50">
            <a:extLst>
              <a:ext uri="{FF2B5EF4-FFF2-40B4-BE49-F238E27FC236}">
                <a16:creationId xmlns:a16="http://schemas.microsoft.com/office/drawing/2014/main" id="{8BDBD747-8B10-6A4C-9941-D1BB3C1EE271}"/>
              </a:ext>
            </a:extLst>
          </p:cNvPr>
          <p:cNvSpPr txBox="1">
            <a:spLocks noGrp="1"/>
          </p:cNvSpPr>
          <p:nvPr>
            <p:ph type="body" idx="10" hasCustomPrompt="1"/>
          </p:nvPr>
        </p:nvSpPr>
        <p:spPr>
          <a:xfrm>
            <a:off x="472000" y="737569"/>
            <a:ext cx="5931830" cy="434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ctr" anchorCtr="0">
            <a:noAutofit/>
          </a:bodyPr>
          <a:lstStyle>
            <a:lvl1pPr marL="380985" lvl="0" indent="-190492" algn="l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000" b="1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761970" lvl="1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2954" lvl="2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523939" lvl="3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904924" lvl="4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5909" lvl="5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666893" lvl="6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047878" lvl="7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428863" lvl="8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 dirty="0"/>
              <a:t>Sub-Head (24pt)</a:t>
            </a:r>
            <a:endParaRPr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9B255232-3093-4C4F-8C6A-36B7E11C214E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72282" y="1361282"/>
            <a:ext cx="5931761" cy="3802063"/>
          </a:xfrm>
        </p:spPr>
        <p:txBody>
          <a:bodyPr/>
          <a:lstStyle>
            <a:lvl1pPr marL="95246" indent="0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333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67">
                <a:solidFill>
                  <a:schemeClr val="bg1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78470362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151;p34">
            <a:extLst>
              <a:ext uri="{FF2B5EF4-FFF2-40B4-BE49-F238E27FC236}">
                <a16:creationId xmlns:a16="http://schemas.microsoft.com/office/drawing/2014/main" id="{6197CA64-CFC6-AE41-837F-13131BC8CF9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77644" y="303144"/>
            <a:ext cx="11331678" cy="5114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b" anchorCtr="0">
            <a:sp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A0029"/>
              </a:buClr>
              <a:buSzPts val="3600"/>
              <a:buFont typeface="Calibri"/>
              <a:buNone/>
              <a:defRPr>
                <a:solidFill>
                  <a:schemeClr val="accent6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4" name="Google Shape;152;p34">
            <a:extLst>
              <a:ext uri="{FF2B5EF4-FFF2-40B4-BE49-F238E27FC236}">
                <a16:creationId xmlns:a16="http://schemas.microsoft.com/office/drawing/2014/main" id="{AC488D4C-F64F-1443-B705-819ED3A06927}"/>
              </a:ext>
            </a:extLst>
          </p:cNvPr>
          <p:cNvSpPr>
            <a:spLocks noGrp="1"/>
          </p:cNvSpPr>
          <p:nvPr>
            <p:ph type="chart" idx="2"/>
          </p:nvPr>
        </p:nvSpPr>
        <p:spPr>
          <a:xfrm>
            <a:off x="577159" y="1481667"/>
            <a:ext cx="11331678" cy="425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rgbClr val="002060"/>
              </a:buClr>
              <a:buSzPts val="1800"/>
              <a:buFont typeface="Arial"/>
              <a:buChar char="•"/>
              <a:defRPr sz="1500" b="0" i="0" u="none" strike="noStrike" cap="none">
                <a:solidFill>
                  <a:srgbClr val="002060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88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88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88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88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pic>
        <p:nvPicPr>
          <p:cNvPr id="6" name="Google Shape;64;p38">
            <a:extLst>
              <a:ext uri="{FF2B5EF4-FFF2-40B4-BE49-F238E27FC236}">
                <a16:creationId xmlns:a16="http://schemas.microsoft.com/office/drawing/2014/main" id="{60A03F00-349B-C840-9AD3-CB34AB8C885F}"/>
              </a:ext>
            </a:extLst>
          </p:cNvPr>
          <p:cNvPicPr preferRelativeResize="0"/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93802" y="6375789"/>
            <a:ext cx="1528252" cy="337269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Google Shape;141;p50">
            <a:extLst>
              <a:ext uri="{FF2B5EF4-FFF2-40B4-BE49-F238E27FC236}">
                <a16:creationId xmlns:a16="http://schemas.microsoft.com/office/drawing/2014/main" id="{956B4F45-B815-DC4F-95E4-890DA3AA60E2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577159" y="737569"/>
            <a:ext cx="11344895" cy="434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ctr" anchorCtr="0">
            <a:noAutofit/>
          </a:bodyPr>
          <a:lstStyle>
            <a:lvl1pPr marL="380985" lvl="0" indent="-190492" algn="ctr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000" b="1">
                <a:solidFill>
                  <a:schemeClr val="accent3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761970" lvl="1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2954" lvl="2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523939" lvl="3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904924" lvl="4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5909" lvl="5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666893" lvl="6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047878" lvl="7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428863" lvl="8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 dirty="0"/>
              <a:t>Sub-Head (24pt)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941003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156;p52">
            <a:extLst>
              <a:ext uri="{FF2B5EF4-FFF2-40B4-BE49-F238E27FC236}">
                <a16:creationId xmlns:a16="http://schemas.microsoft.com/office/drawing/2014/main" id="{8E7C27D4-4B49-EE40-8DC8-271E0106E3E7}"/>
              </a:ext>
            </a:extLst>
          </p:cNvPr>
          <p:cNvSpPr txBox="1"/>
          <p:nvPr userDrawn="1"/>
        </p:nvSpPr>
        <p:spPr>
          <a:xfrm>
            <a:off x="735542" y="2210418"/>
            <a:ext cx="4579408" cy="21715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0583" rIns="0" bIns="0" anchor="t" anchorCtr="0">
            <a:spAutoFit/>
          </a:bodyPr>
          <a:lstStyle/>
          <a:p>
            <a:pPr marL="10583" marR="667782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</a:pPr>
            <a:r>
              <a:rPr lang="en-US" sz="1833" b="1" i="0" u="none" strike="noStrike" cap="none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Global Headquarters</a:t>
            </a:r>
            <a:endParaRPr sz="1167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0583" marR="667782" lvl="0" indent="0" algn="l" rtl="0">
              <a:lnSpc>
                <a:spcPct val="100000"/>
              </a:lnSpc>
              <a:spcBef>
                <a:spcPts val="83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500" b="0" i="0" u="none" strike="noStrike" cap="none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Vyaire Medical, Inc.</a:t>
            </a:r>
            <a:endParaRPr sz="1167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0583" marR="667782" lvl="0" indent="0" algn="l" rtl="0">
              <a:lnSpc>
                <a:spcPct val="100000"/>
              </a:lnSpc>
              <a:spcBef>
                <a:spcPts val="83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500" b="0" i="0" u="none" strike="noStrike" cap="none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26125 N. Riverwoods Blvd.</a:t>
            </a:r>
            <a:endParaRPr sz="1500" b="0" i="0" u="none" strike="noStrike" cap="none">
              <a:solidFill>
                <a:schemeClr val="accent6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0583" marR="312725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500" b="0" i="0" u="none" strike="noStrike" cap="none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Mettawa, IL 60045  USA</a:t>
            </a:r>
            <a:endParaRPr sz="1500" b="0" i="0" u="none" strike="noStrike" cap="none">
              <a:solidFill>
                <a:schemeClr val="accent6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25"/>
              </a:spcBef>
              <a:spcAft>
                <a:spcPts val="0"/>
              </a:spcAft>
              <a:buClr>
                <a:srgbClr val="000000"/>
              </a:buClr>
              <a:buSzPts val="1850"/>
              <a:buFont typeface="Arial"/>
              <a:buNone/>
            </a:pPr>
            <a:endParaRPr sz="1542" b="0" i="0" u="none" strike="noStrike" cap="none">
              <a:solidFill>
                <a:schemeClr val="accent6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10583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500" b="0" i="0" u="none" strike="noStrike" cap="none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vyaire.com</a:t>
            </a:r>
            <a:endParaRPr sz="1500" b="0" i="0" u="none" strike="noStrike" cap="none">
              <a:solidFill>
                <a:schemeClr val="accent6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42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500" b="0" i="0" u="none" strike="noStrike" cap="none">
              <a:solidFill>
                <a:schemeClr val="accent6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10583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500" b="1" i="0" u="none" strike="noStrike" cap="none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References:</a:t>
            </a:r>
            <a:endParaRPr sz="1500" b="0" i="0" u="none" strike="noStrike" cap="none">
              <a:solidFill>
                <a:schemeClr val="accent6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" name="Google Shape;157;p52">
            <a:extLst>
              <a:ext uri="{FF2B5EF4-FFF2-40B4-BE49-F238E27FC236}">
                <a16:creationId xmlns:a16="http://schemas.microsoft.com/office/drawing/2014/main" id="{1EF0BEE5-D621-4346-AB56-491E22757E5A}"/>
              </a:ext>
            </a:extLst>
          </p:cNvPr>
          <p:cNvSpPr/>
          <p:nvPr userDrawn="1"/>
        </p:nvSpPr>
        <p:spPr>
          <a:xfrm>
            <a:off x="6708496" y="0"/>
            <a:ext cx="5483754" cy="6858000"/>
          </a:xfrm>
          <a:custGeom>
            <a:avLst/>
            <a:gdLst/>
            <a:ahLst/>
            <a:cxnLst/>
            <a:rect l="l" t="t" r="r" b="b"/>
            <a:pathLst>
              <a:path w="6580505" h="8229600" extrusionOk="0">
                <a:moveTo>
                  <a:pt x="6580205" y="0"/>
                </a:moveTo>
                <a:lnTo>
                  <a:pt x="2244933" y="0"/>
                </a:lnTo>
                <a:lnTo>
                  <a:pt x="2211808" y="36009"/>
                </a:lnTo>
                <a:lnTo>
                  <a:pt x="2178905" y="72199"/>
                </a:lnTo>
                <a:lnTo>
                  <a:pt x="2146223" y="108567"/>
                </a:lnTo>
                <a:lnTo>
                  <a:pt x="2113765" y="145112"/>
                </a:lnTo>
                <a:lnTo>
                  <a:pt x="2081529" y="181833"/>
                </a:lnTo>
                <a:lnTo>
                  <a:pt x="2049518" y="218730"/>
                </a:lnTo>
                <a:lnTo>
                  <a:pt x="2017730" y="255800"/>
                </a:lnTo>
                <a:lnTo>
                  <a:pt x="1986168" y="293044"/>
                </a:lnTo>
                <a:lnTo>
                  <a:pt x="1954832" y="330458"/>
                </a:lnTo>
                <a:lnTo>
                  <a:pt x="1923721" y="368043"/>
                </a:lnTo>
                <a:lnTo>
                  <a:pt x="1892837" y="405798"/>
                </a:lnTo>
                <a:lnTo>
                  <a:pt x="1862181" y="443720"/>
                </a:lnTo>
                <a:lnTo>
                  <a:pt x="1831752" y="481809"/>
                </a:lnTo>
                <a:lnTo>
                  <a:pt x="1801552" y="520064"/>
                </a:lnTo>
                <a:lnTo>
                  <a:pt x="1771580" y="558484"/>
                </a:lnTo>
                <a:lnTo>
                  <a:pt x="1741839" y="597067"/>
                </a:lnTo>
                <a:lnTo>
                  <a:pt x="1712327" y="635812"/>
                </a:lnTo>
                <a:lnTo>
                  <a:pt x="1683046" y="674718"/>
                </a:lnTo>
                <a:lnTo>
                  <a:pt x="1653996" y="713784"/>
                </a:lnTo>
                <a:lnTo>
                  <a:pt x="1625178" y="753009"/>
                </a:lnTo>
                <a:lnTo>
                  <a:pt x="1596592" y="792391"/>
                </a:lnTo>
                <a:lnTo>
                  <a:pt x="1568240" y="831930"/>
                </a:lnTo>
                <a:lnTo>
                  <a:pt x="1540121" y="871624"/>
                </a:lnTo>
                <a:lnTo>
                  <a:pt x="1512236" y="911472"/>
                </a:lnTo>
                <a:lnTo>
                  <a:pt x="1484585" y="951473"/>
                </a:lnTo>
                <a:lnTo>
                  <a:pt x="1457170" y="991625"/>
                </a:lnTo>
                <a:lnTo>
                  <a:pt x="1429991" y="1031928"/>
                </a:lnTo>
                <a:lnTo>
                  <a:pt x="1403048" y="1072381"/>
                </a:lnTo>
                <a:lnTo>
                  <a:pt x="1376342" y="1112982"/>
                </a:lnTo>
                <a:lnTo>
                  <a:pt x="1349873" y="1153729"/>
                </a:lnTo>
                <a:lnTo>
                  <a:pt x="1323642" y="1194623"/>
                </a:lnTo>
                <a:lnTo>
                  <a:pt x="1297651" y="1235662"/>
                </a:lnTo>
                <a:lnTo>
                  <a:pt x="1271898" y="1276844"/>
                </a:lnTo>
                <a:lnTo>
                  <a:pt x="1246385" y="1318168"/>
                </a:lnTo>
                <a:lnTo>
                  <a:pt x="1221113" y="1359634"/>
                </a:lnTo>
                <a:lnTo>
                  <a:pt x="1196081" y="1401239"/>
                </a:lnTo>
                <a:lnTo>
                  <a:pt x="1171291" y="1442984"/>
                </a:lnTo>
                <a:lnTo>
                  <a:pt x="1146743" y="1484866"/>
                </a:lnTo>
                <a:lnTo>
                  <a:pt x="1122437" y="1526885"/>
                </a:lnTo>
                <a:lnTo>
                  <a:pt x="1098375" y="1569039"/>
                </a:lnTo>
                <a:lnTo>
                  <a:pt x="1074557" y="1611328"/>
                </a:lnTo>
                <a:lnTo>
                  <a:pt x="1050983" y="1653749"/>
                </a:lnTo>
                <a:lnTo>
                  <a:pt x="1027653" y="1696303"/>
                </a:lnTo>
                <a:lnTo>
                  <a:pt x="1004570" y="1738987"/>
                </a:lnTo>
                <a:lnTo>
                  <a:pt x="981732" y="1781800"/>
                </a:lnTo>
                <a:lnTo>
                  <a:pt x="959141" y="1824743"/>
                </a:lnTo>
                <a:lnTo>
                  <a:pt x="936797" y="1867812"/>
                </a:lnTo>
                <a:lnTo>
                  <a:pt x="914701" y="1911007"/>
                </a:lnTo>
                <a:lnTo>
                  <a:pt x="892853" y="1954328"/>
                </a:lnTo>
                <a:lnTo>
                  <a:pt x="871254" y="1997772"/>
                </a:lnTo>
                <a:lnTo>
                  <a:pt x="849905" y="2041338"/>
                </a:lnTo>
                <a:lnTo>
                  <a:pt x="828805" y="2085026"/>
                </a:lnTo>
                <a:lnTo>
                  <a:pt x="807956" y="2128835"/>
                </a:lnTo>
                <a:lnTo>
                  <a:pt x="787359" y="2172762"/>
                </a:lnTo>
                <a:lnTo>
                  <a:pt x="767013" y="2216807"/>
                </a:lnTo>
                <a:lnTo>
                  <a:pt x="746919" y="2260969"/>
                </a:lnTo>
                <a:lnTo>
                  <a:pt x="727078" y="2305247"/>
                </a:lnTo>
                <a:lnTo>
                  <a:pt x="707491" y="2349639"/>
                </a:lnTo>
                <a:lnTo>
                  <a:pt x="688158" y="2394144"/>
                </a:lnTo>
                <a:lnTo>
                  <a:pt x="669079" y="2438761"/>
                </a:lnTo>
                <a:lnTo>
                  <a:pt x="650255" y="2483489"/>
                </a:lnTo>
                <a:lnTo>
                  <a:pt x="631687" y="2528327"/>
                </a:lnTo>
                <a:lnTo>
                  <a:pt x="613376" y="2573274"/>
                </a:lnTo>
                <a:lnTo>
                  <a:pt x="595321" y="2618327"/>
                </a:lnTo>
                <a:lnTo>
                  <a:pt x="577524" y="2663487"/>
                </a:lnTo>
                <a:lnTo>
                  <a:pt x="559985" y="2708753"/>
                </a:lnTo>
                <a:lnTo>
                  <a:pt x="542704" y="2754122"/>
                </a:lnTo>
                <a:lnTo>
                  <a:pt x="525682" y="2799594"/>
                </a:lnTo>
                <a:lnTo>
                  <a:pt x="508920" y="2845167"/>
                </a:lnTo>
                <a:lnTo>
                  <a:pt x="492419" y="2890841"/>
                </a:lnTo>
                <a:lnTo>
                  <a:pt x="476178" y="2936614"/>
                </a:lnTo>
                <a:lnTo>
                  <a:pt x="460199" y="2982485"/>
                </a:lnTo>
                <a:lnTo>
                  <a:pt x="444481" y="3028453"/>
                </a:lnTo>
                <a:lnTo>
                  <a:pt x="429027" y="3074517"/>
                </a:lnTo>
                <a:lnTo>
                  <a:pt x="413835" y="3120675"/>
                </a:lnTo>
                <a:lnTo>
                  <a:pt x="398907" y="3166927"/>
                </a:lnTo>
                <a:lnTo>
                  <a:pt x="384243" y="3213271"/>
                </a:lnTo>
                <a:lnTo>
                  <a:pt x="369844" y="3259706"/>
                </a:lnTo>
                <a:lnTo>
                  <a:pt x="355711" y="3306231"/>
                </a:lnTo>
                <a:lnTo>
                  <a:pt x="341843" y="3352845"/>
                </a:lnTo>
                <a:lnTo>
                  <a:pt x="328242" y="3399546"/>
                </a:lnTo>
                <a:lnTo>
                  <a:pt x="314908" y="3446334"/>
                </a:lnTo>
                <a:lnTo>
                  <a:pt x="301842" y="3493207"/>
                </a:lnTo>
                <a:lnTo>
                  <a:pt x="289044" y="3540164"/>
                </a:lnTo>
                <a:lnTo>
                  <a:pt x="276515" y="3587204"/>
                </a:lnTo>
                <a:lnTo>
                  <a:pt x="264255" y="3634325"/>
                </a:lnTo>
                <a:lnTo>
                  <a:pt x="252265" y="3681528"/>
                </a:lnTo>
                <a:lnTo>
                  <a:pt x="240546" y="3728810"/>
                </a:lnTo>
                <a:lnTo>
                  <a:pt x="229098" y="3776169"/>
                </a:lnTo>
                <a:lnTo>
                  <a:pt x="217921" y="3823607"/>
                </a:lnTo>
                <a:lnTo>
                  <a:pt x="207017" y="3871120"/>
                </a:lnTo>
                <a:lnTo>
                  <a:pt x="196386" y="3918707"/>
                </a:lnTo>
                <a:lnTo>
                  <a:pt x="186027" y="3966369"/>
                </a:lnTo>
                <a:lnTo>
                  <a:pt x="175943" y="4014102"/>
                </a:lnTo>
                <a:lnTo>
                  <a:pt x="166133" y="4061907"/>
                </a:lnTo>
                <a:lnTo>
                  <a:pt x="156599" y="4109782"/>
                </a:lnTo>
                <a:lnTo>
                  <a:pt x="147340" y="4157726"/>
                </a:lnTo>
                <a:lnTo>
                  <a:pt x="138357" y="4205738"/>
                </a:lnTo>
                <a:lnTo>
                  <a:pt x="129651" y="4253816"/>
                </a:lnTo>
                <a:lnTo>
                  <a:pt x="121222" y="4301960"/>
                </a:lnTo>
                <a:lnTo>
                  <a:pt x="113072" y="4350168"/>
                </a:lnTo>
                <a:lnTo>
                  <a:pt x="105199" y="4398439"/>
                </a:lnTo>
                <a:lnTo>
                  <a:pt x="97606" y="4446772"/>
                </a:lnTo>
                <a:lnTo>
                  <a:pt x="90293" y="4495166"/>
                </a:lnTo>
                <a:lnTo>
                  <a:pt x="83259" y="4543620"/>
                </a:lnTo>
                <a:lnTo>
                  <a:pt x="76507" y="4592131"/>
                </a:lnTo>
                <a:lnTo>
                  <a:pt x="70036" y="4640700"/>
                </a:lnTo>
                <a:lnTo>
                  <a:pt x="63846" y="4689326"/>
                </a:lnTo>
                <a:lnTo>
                  <a:pt x="57940" y="4738006"/>
                </a:lnTo>
                <a:lnTo>
                  <a:pt x="52316" y="4786739"/>
                </a:lnTo>
                <a:lnTo>
                  <a:pt x="46976" y="4835526"/>
                </a:lnTo>
                <a:lnTo>
                  <a:pt x="41920" y="4884364"/>
                </a:lnTo>
                <a:lnTo>
                  <a:pt x="37148" y="4933252"/>
                </a:lnTo>
                <a:lnTo>
                  <a:pt x="32662" y="4982189"/>
                </a:lnTo>
                <a:lnTo>
                  <a:pt x="28462" y="5031174"/>
                </a:lnTo>
                <a:lnTo>
                  <a:pt x="24549" y="5080206"/>
                </a:lnTo>
                <a:lnTo>
                  <a:pt x="20922" y="5129284"/>
                </a:lnTo>
                <a:lnTo>
                  <a:pt x="17583" y="5178406"/>
                </a:lnTo>
                <a:lnTo>
                  <a:pt x="14533" y="5227571"/>
                </a:lnTo>
                <a:lnTo>
                  <a:pt x="11771" y="5276778"/>
                </a:lnTo>
                <a:lnTo>
                  <a:pt x="9298" y="5326026"/>
                </a:lnTo>
                <a:lnTo>
                  <a:pt x="7115" y="5375314"/>
                </a:lnTo>
                <a:lnTo>
                  <a:pt x="5223" y="5424641"/>
                </a:lnTo>
                <a:lnTo>
                  <a:pt x="3621" y="5474005"/>
                </a:lnTo>
                <a:lnTo>
                  <a:pt x="2311" y="5523405"/>
                </a:lnTo>
                <a:lnTo>
                  <a:pt x="1294" y="5572841"/>
                </a:lnTo>
                <a:lnTo>
                  <a:pt x="569" y="5622310"/>
                </a:lnTo>
                <a:lnTo>
                  <a:pt x="137" y="5671812"/>
                </a:lnTo>
                <a:lnTo>
                  <a:pt x="0" y="5721346"/>
                </a:lnTo>
                <a:lnTo>
                  <a:pt x="156" y="5770910"/>
                </a:lnTo>
                <a:lnTo>
                  <a:pt x="608" y="5820503"/>
                </a:lnTo>
                <a:lnTo>
                  <a:pt x="1355" y="5870125"/>
                </a:lnTo>
                <a:lnTo>
                  <a:pt x="2398" y="5919773"/>
                </a:lnTo>
                <a:lnTo>
                  <a:pt x="3739" y="5969447"/>
                </a:lnTo>
                <a:lnTo>
                  <a:pt x="5376" y="6019146"/>
                </a:lnTo>
                <a:lnTo>
                  <a:pt x="7311" y="6068868"/>
                </a:lnTo>
                <a:lnTo>
                  <a:pt x="9545" y="6118613"/>
                </a:lnTo>
                <a:lnTo>
                  <a:pt x="12077" y="6168378"/>
                </a:lnTo>
                <a:lnTo>
                  <a:pt x="14910" y="6218164"/>
                </a:lnTo>
                <a:lnTo>
                  <a:pt x="18042" y="6267968"/>
                </a:lnTo>
                <a:lnTo>
                  <a:pt x="21475" y="6317790"/>
                </a:lnTo>
                <a:lnTo>
                  <a:pt x="25209" y="6367629"/>
                </a:lnTo>
                <a:lnTo>
                  <a:pt x="29245" y="6417482"/>
                </a:lnTo>
                <a:lnTo>
                  <a:pt x="33584" y="6467350"/>
                </a:lnTo>
                <a:lnTo>
                  <a:pt x="38225" y="6517231"/>
                </a:lnTo>
                <a:lnTo>
                  <a:pt x="43170" y="6567123"/>
                </a:lnTo>
                <a:lnTo>
                  <a:pt x="48419" y="6617026"/>
                </a:lnTo>
                <a:lnTo>
                  <a:pt x="53973" y="6666939"/>
                </a:lnTo>
                <a:lnTo>
                  <a:pt x="59832" y="6716860"/>
                </a:lnTo>
                <a:lnTo>
                  <a:pt x="65997" y="6766788"/>
                </a:lnTo>
                <a:lnTo>
                  <a:pt x="72468" y="6816722"/>
                </a:lnTo>
                <a:lnTo>
                  <a:pt x="79246" y="6866660"/>
                </a:lnTo>
                <a:lnTo>
                  <a:pt x="86332" y="6916602"/>
                </a:lnTo>
                <a:lnTo>
                  <a:pt x="93726" y="6966547"/>
                </a:lnTo>
                <a:lnTo>
                  <a:pt x="101428" y="7016493"/>
                </a:lnTo>
                <a:lnTo>
                  <a:pt x="109440" y="7066439"/>
                </a:lnTo>
                <a:lnTo>
                  <a:pt x="117761" y="7116384"/>
                </a:lnTo>
                <a:lnTo>
                  <a:pt x="126393" y="7166327"/>
                </a:lnTo>
                <a:lnTo>
                  <a:pt x="135336" y="7216267"/>
                </a:lnTo>
                <a:lnTo>
                  <a:pt x="144192" y="7264666"/>
                </a:lnTo>
                <a:lnTo>
                  <a:pt x="153342" y="7313055"/>
                </a:lnTo>
                <a:lnTo>
                  <a:pt x="162788" y="7361433"/>
                </a:lnTo>
                <a:lnTo>
                  <a:pt x="172531" y="7409798"/>
                </a:lnTo>
                <a:lnTo>
                  <a:pt x="182571" y="7458151"/>
                </a:lnTo>
                <a:lnTo>
                  <a:pt x="192910" y="7506490"/>
                </a:lnTo>
                <a:lnTo>
                  <a:pt x="203549" y="7554816"/>
                </a:lnTo>
                <a:lnTo>
                  <a:pt x="214489" y="7603127"/>
                </a:lnTo>
                <a:lnTo>
                  <a:pt x="225730" y="7651423"/>
                </a:lnTo>
                <a:lnTo>
                  <a:pt x="237273" y="7699704"/>
                </a:lnTo>
                <a:lnTo>
                  <a:pt x="249121" y="7747968"/>
                </a:lnTo>
                <a:lnTo>
                  <a:pt x="261273" y="7796216"/>
                </a:lnTo>
                <a:lnTo>
                  <a:pt x="273730" y="7844446"/>
                </a:lnTo>
                <a:lnTo>
                  <a:pt x="286494" y="7892659"/>
                </a:lnTo>
                <a:lnTo>
                  <a:pt x="299566" y="7940853"/>
                </a:lnTo>
                <a:lnTo>
                  <a:pt x="312946" y="7989029"/>
                </a:lnTo>
                <a:lnTo>
                  <a:pt x="326636" y="8037184"/>
                </a:lnTo>
                <a:lnTo>
                  <a:pt x="340636" y="8085320"/>
                </a:lnTo>
                <a:lnTo>
                  <a:pt x="354948" y="8133434"/>
                </a:lnTo>
                <a:lnTo>
                  <a:pt x="369572" y="8181528"/>
                </a:lnTo>
                <a:lnTo>
                  <a:pt x="384510" y="8229600"/>
                </a:lnTo>
                <a:lnTo>
                  <a:pt x="6580205" y="8229600"/>
                </a:lnTo>
                <a:lnTo>
                  <a:pt x="6580205" y="0"/>
                </a:lnTo>
                <a:close/>
              </a:path>
            </a:pathLst>
          </a:custGeom>
          <a:solidFill>
            <a:srgbClr val="D5D5E8">
              <a:alpha val="19215"/>
            </a:srgbClr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40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Google Shape;158;p52">
            <a:extLst>
              <a:ext uri="{FF2B5EF4-FFF2-40B4-BE49-F238E27FC236}">
                <a16:creationId xmlns:a16="http://schemas.microsoft.com/office/drawing/2014/main" id="{5AE05D83-9F4F-D040-BC1C-4D5AE4C2AA7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747448" y="4388364"/>
            <a:ext cx="5791004" cy="13102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noAutofit/>
          </a:bodyPr>
          <a:lstStyle>
            <a:lvl1pPr marL="380985" lvl="0" indent="-19049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600"/>
              <a:buNone/>
              <a:defRPr sz="1500" b="0" i="0" u="none" strike="noStrike" cap="none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761970" lvl="1" indent="-190492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ts val="1600"/>
              <a:buNone/>
              <a:defRPr sz="1333" b="0" i="0" u="none" strike="noStrike" cap="none">
                <a:solidFill>
                  <a:srgbClr val="A7A9AC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2954" lvl="2" indent="-190492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ts val="1600"/>
              <a:buNone/>
              <a:defRPr sz="1333" b="0" i="0" u="none" strike="noStrike" cap="none">
                <a:solidFill>
                  <a:srgbClr val="A7A9AC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523939" lvl="3" indent="-190492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ts val="1600"/>
              <a:buNone/>
              <a:defRPr sz="1333" b="0" i="0" u="none" strike="noStrike" cap="none">
                <a:solidFill>
                  <a:srgbClr val="A7A9AC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904924" lvl="4" indent="-190492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ts val="1600"/>
              <a:buNone/>
              <a:defRPr sz="1333" b="0" i="0" u="none" strike="noStrike" cap="none">
                <a:solidFill>
                  <a:srgbClr val="A7A9AC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5909" lvl="5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666893" lvl="6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047878" lvl="7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428863" lvl="8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" name="Google Shape;159;p52">
            <a:extLst>
              <a:ext uri="{FF2B5EF4-FFF2-40B4-BE49-F238E27FC236}">
                <a16:creationId xmlns:a16="http://schemas.microsoft.com/office/drawing/2014/main" id="{1D956841-01CB-C042-BA40-915B92B6C0F4}"/>
              </a:ext>
            </a:extLst>
          </p:cNvPr>
          <p:cNvSpPr txBox="1">
            <a:spLocks noGrp="1"/>
          </p:cNvSpPr>
          <p:nvPr>
            <p:ph type="body" idx="2"/>
          </p:nvPr>
        </p:nvSpPr>
        <p:spPr>
          <a:xfrm>
            <a:off x="735542" y="5915818"/>
            <a:ext cx="5802910" cy="3894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380985" lvl="0" indent="-19049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A7A9AC"/>
              </a:buClr>
              <a:buSzPts val="1800"/>
              <a:buNone/>
              <a:defRPr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761970" lvl="1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2954" lvl="2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523939" lvl="3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904924" lvl="4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5909" lvl="5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666893" lvl="6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047878" lvl="7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428863" lvl="8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" name="Google Shape;160;p52">
            <a:extLst>
              <a:ext uri="{FF2B5EF4-FFF2-40B4-BE49-F238E27FC236}">
                <a16:creationId xmlns:a16="http://schemas.microsoft.com/office/drawing/2014/main" id="{8027B163-B7AA-9F44-8F30-10580FC30753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745887" y="763318"/>
            <a:ext cx="3399645" cy="75026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8184611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Internatio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162;p87">
            <a:extLst>
              <a:ext uri="{FF2B5EF4-FFF2-40B4-BE49-F238E27FC236}">
                <a16:creationId xmlns:a16="http://schemas.microsoft.com/office/drawing/2014/main" id="{119082DF-CB5D-2B48-93F2-508A70C5AC61}"/>
              </a:ext>
            </a:extLst>
          </p:cNvPr>
          <p:cNvSpPr txBox="1"/>
          <p:nvPr userDrawn="1"/>
        </p:nvSpPr>
        <p:spPr>
          <a:xfrm>
            <a:off x="735542" y="2210418"/>
            <a:ext cx="4579408" cy="21715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0583" rIns="0" bIns="0" anchor="t" anchorCtr="0">
            <a:spAutoFit/>
          </a:bodyPr>
          <a:lstStyle/>
          <a:p>
            <a:pPr marL="10583" marR="667782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</a:pPr>
            <a:r>
              <a:rPr lang="en-US" sz="1833" b="1" i="0" u="none" strike="noStrike" cap="none" dirty="0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Global Headquarters</a:t>
            </a:r>
            <a:endParaRPr sz="1167" b="0" i="0" u="none" strike="noStrike" cap="none" dirty="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0583" marR="667782" lvl="0" indent="0" algn="l" rtl="0">
              <a:lnSpc>
                <a:spcPct val="100000"/>
              </a:lnSpc>
              <a:spcBef>
                <a:spcPts val="83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500" b="0" i="0" u="none" strike="noStrike" cap="none" dirty="0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Vyaire Medical, Inc.</a:t>
            </a:r>
            <a:endParaRPr sz="1167" b="0" i="0" u="none" strike="noStrike" cap="none" dirty="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0583" marR="667782" lvl="0" indent="0" algn="l" rtl="0">
              <a:lnSpc>
                <a:spcPct val="100000"/>
              </a:lnSpc>
              <a:spcBef>
                <a:spcPts val="83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500" b="0" i="0" u="none" strike="noStrike" cap="none" dirty="0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26125 N. Riverwoods Blvd.</a:t>
            </a:r>
            <a:endParaRPr sz="1500" b="0" i="0" u="none" strike="noStrike" cap="none" dirty="0">
              <a:solidFill>
                <a:schemeClr val="accent6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0583" marR="312725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500" b="0" i="0" u="none" strike="noStrike" cap="none" dirty="0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Mettawa, IL 60045  USA</a:t>
            </a:r>
            <a:endParaRPr sz="1500" b="0" i="0" u="none" strike="noStrike" cap="none" dirty="0">
              <a:solidFill>
                <a:schemeClr val="accent6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25"/>
              </a:spcBef>
              <a:spcAft>
                <a:spcPts val="0"/>
              </a:spcAft>
              <a:buClr>
                <a:srgbClr val="000000"/>
              </a:buClr>
              <a:buSzPts val="1850"/>
              <a:buFont typeface="Arial"/>
              <a:buNone/>
            </a:pPr>
            <a:endParaRPr sz="1542" b="0" i="0" u="none" strike="noStrike" cap="none" dirty="0">
              <a:solidFill>
                <a:schemeClr val="accent6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10583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500" b="0" i="0" u="none" strike="noStrike" cap="none" dirty="0" err="1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vyaire.com</a:t>
            </a:r>
            <a:endParaRPr sz="1500" b="0" i="0" u="none" strike="noStrike" cap="none" dirty="0">
              <a:solidFill>
                <a:schemeClr val="accent6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42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500" b="0" i="0" u="none" strike="noStrike" cap="none" dirty="0">
              <a:solidFill>
                <a:schemeClr val="accent6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10583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500" b="1" i="0" u="none" strike="noStrike" cap="none" dirty="0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References:</a:t>
            </a:r>
            <a:endParaRPr sz="1500" b="0" i="0" u="none" strike="noStrike" cap="none" dirty="0">
              <a:solidFill>
                <a:schemeClr val="accent6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" name="Google Shape;163;p87">
            <a:extLst>
              <a:ext uri="{FF2B5EF4-FFF2-40B4-BE49-F238E27FC236}">
                <a16:creationId xmlns:a16="http://schemas.microsoft.com/office/drawing/2014/main" id="{E528B714-7730-FD40-9585-F56504138C41}"/>
              </a:ext>
            </a:extLst>
          </p:cNvPr>
          <p:cNvSpPr/>
          <p:nvPr userDrawn="1"/>
        </p:nvSpPr>
        <p:spPr>
          <a:xfrm>
            <a:off x="6708246" y="0"/>
            <a:ext cx="5483754" cy="6858000"/>
          </a:xfrm>
          <a:custGeom>
            <a:avLst/>
            <a:gdLst/>
            <a:ahLst/>
            <a:cxnLst/>
            <a:rect l="l" t="t" r="r" b="b"/>
            <a:pathLst>
              <a:path w="6580505" h="8229600" extrusionOk="0">
                <a:moveTo>
                  <a:pt x="6580205" y="0"/>
                </a:moveTo>
                <a:lnTo>
                  <a:pt x="2244933" y="0"/>
                </a:lnTo>
                <a:lnTo>
                  <a:pt x="2211808" y="36009"/>
                </a:lnTo>
                <a:lnTo>
                  <a:pt x="2178905" y="72199"/>
                </a:lnTo>
                <a:lnTo>
                  <a:pt x="2146223" y="108567"/>
                </a:lnTo>
                <a:lnTo>
                  <a:pt x="2113765" y="145112"/>
                </a:lnTo>
                <a:lnTo>
                  <a:pt x="2081529" y="181833"/>
                </a:lnTo>
                <a:lnTo>
                  <a:pt x="2049518" y="218730"/>
                </a:lnTo>
                <a:lnTo>
                  <a:pt x="2017730" y="255800"/>
                </a:lnTo>
                <a:lnTo>
                  <a:pt x="1986168" y="293044"/>
                </a:lnTo>
                <a:lnTo>
                  <a:pt x="1954832" y="330458"/>
                </a:lnTo>
                <a:lnTo>
                  <a:pt x="1923721" y="368043"/>
                </a:lnTo>
                <a:lnTo>
                  <a:pt x="1892837" y="405798"/>
                </a:lnTo>
                <a:lnTo>
                  <a:pt x="1862181" y="443720"/>
                </a:lnTo>
                <a:lnTo>
                  <a:pt x="1831752" y="481809"/>
                </a:lnTo>
                <a:lnTo>
                  <a:pt x="1801552" y="520064"/>
                </a:lnTo>
                <a:lnTo>
                  <a:pt x="1771580" y="558484"/>
                </a:lnTo>
                <a:lnTo>
                  <a:pt x="1741839" y="597067"/>
                </a:lnTo>
                <a:lnTo>
                  <a:pt x="1712327" y="635812"/>
                </a:lnTo>
                <a:lnTo>
                  <a:pt x="1683046" y="674718"/>
                </a:lnTo>
                <a:lnTo>
                  <a:pt x="1653996" y="713784"/>
                </a:lnTo>
                <a:lnTo>
                  <a:pt x="1625178" y="753009"/>
                </a:lnTo>
                <a:lnTo>
                  <a:pt x="1596592" y="792391"/>
                </a:lnTo>
                <a:lnTo>
                  <a:pt x="1568240" y="831930"/>
                </a:lnTo>
                <a:lnTo>
                  <a:pt x="1540121" y="871624"/>
                </a:lnTo>
                <a:lnTo>
                  <a:pt x="1512236" y="911472"/>
                </a:lnTo>
                <a:lnTo>
                  <a:pt x="1484585" y="951473"/>
                </a:lnTo>
                <a:lnTo>
                  <a:pt x="1457170" y="991625"/>
                </a:lnTo>
                <a:lnTo>
                  <a:pt x="1429991" y="1031928"/>
                </a:lnTo>
                <a:lnTo>
                  <a:pt x="1403048" y="1072381"/>
                </a:lnTo>
                <a:lnTo>
                  <a:pt x="1376342" y="1112982"/>
                </a:lnTo>
                <a:lnTo>
                  <a:pt x="1349873" y="1153729"/>
                </a:lnTo>
                <a:lnTo>
                  <a:pt x="1323642" y="1194623"/>
                </a:lnTo>
                <a:lnTo>
                  <a:pt x="1297651" y="1235662"/>
                </a:lnTo>
                <a:lnTo>
                  <a:pt x="1271898" y="1276844"/>
                </a:lnTo>
                <a:lnTo>
                  <a:pt x="1246385" y="1318168"/>
                </a:lnTo>
                <a:lnTo>
                  <a:pt x="1221113" y="1359634"/>
                </a:lnTo>
                <a:lnTo>
                  <a:pt x="1196081" y="1401239"/>
                </a:lnTo>
                <a:lnTo>
                  <a:pt x="1171291" y="1442984"/>
                </a:lnTo>
                <a:lnTo>
                  <a:pt x="1146743" y="1484866"/>
                </a:lnTo>
                <a:lnTo>
                  <a:pt x="1122437" y="1526885"/>
                </a:lnTo>
                <a:lnTo>
                  <a:pt x="1098375" y="1569039"/>
                </a:lnTo>
                <a:lnTo>
                  <a:pt x="1074557" y="1611328"/>
                </a:lnTo>
                <a:lnTo>
                  <a:pt x="1050983" y="1653749"/>
                </a:lnTo>
                <a:lnTo>
                  <a:pt x="1027653" y="1696303"/>
                </a:lnTo>
                <a:lnTo>
                  <a:pt x="1004570" y="1738987"/>
                </a:lnTo>
                <a:lnTo>
                  <a:pt x="981732" y="1781800"/>
                </a:lnTo>
                <a:lnTo>
                  <a:pt x="959141" y="1824743"/>
                </a:lnTo>
                <a:lnTo>
                  <a:pt x="936797" y="1867812"/>
                </a:lnTo>
                <a:lnTo>
                  <a:pt x="914701" y="1911007"/>
                </a:lnTo>
                <a:lnTo>
                  <a:pt x="892853" y="1954328"/>
                </a:lnTo>
                <a:lnTo>
                  <a:pt x="871254" y="1997772"/>
                </a:lnTo>
                <a:lnTo>
                  <a:pt x="849905" y="2041338"/>
                </a:lnTo>
                <a:lnTo>
                  <a:pt x="828805" y="2085026"/>
                </a:lnTo>
                <a:lnTo>
                  <a:pt x="807956" y="2128835"/>
                </a:lnTo>
                <a:lnTo>
                  <a:pt x="787359" y="2172762"/>
                </a:lnTo>
                <a:lnTo>
                  <a:pt x="767013" y="2216807"/>
                </a:lnTo>
                <a:lnTo>
                  <a:pt x="746919" y="2260969"/>
                </a:lnTo>
                <a:lnTo>
                  <a:pt x="727078" y="2305247"/>
                </a:lnTo>
                <a:lnTo>
                  <a:pt x="707491" y="2349639"/>
                </a:lnTo>
                <a:lnTo>
                  <a:pt x="688158" y="2394144"/>
                </a:lnTo>
                <a:lnTo>
                  <a:pt x="669079" y="2438761"/>
                </a:lnTo>
                <a:lnTo>
                  <a:pt x="650255" y="2483489"/>
                </a:lnTo>
                <a:lnTo>
                  <a:pt x="631687" y="2528327"/>
                </a:lnTo>
                <a:lnTo>
                  <a:pt x="613376" y="2573274"/>
                </a:lnTo>
                <a:lnTo>
                  <a:pt x="595321" y="2618327"/>
                </a:lnTo>
                <a:lnTo>
                  <a:pt x="577524" y="2663487"/>
                </a:lnTo>
                <a:lnTo>
                  <a:pt x="559985" y="2708753"/>
                </a:lnTo>
                <a:lnTo>
                  <a:pt x="542704" y="2754122"/>
                </a:lnTo>
                <a:lnTo>
                  <a:pt x="525682" y="2799594"/>
                </a:lnTo>
                <a:lnTo>
                  <a:pt x="508920" y="2845167"/>
                </a:lnTo>
                <a:lnTo>
                  <a:pt x="492419" y="2890841"/>
                </a:lnTo>
                <a:lnTo>
                  <a:pt x="476178" y="2936614"/>
                </a:lnTo>
                <a:lnTo>
                  <a:pt x="460199" y="2982485"/>
                </a:lnTo>
                <a:lnTo>
                  <a:pt x="444481" y="3028453"/>
                </a:lnTo>
                <a:lnTo>
                  <a:pt x="429027" y="3074517"/>
                </a:lnTo>
                <a:lnTo>
                  <a:pt x="413835" y="3120675"/>
                </a:lnTo>
                <a:lnTo>
                  <a:pt x="398907" y="3166927"/>
                </a:lnTo>
                <a:lnTo>
                  <a:pt x="384243" y="3213271"/>
                </a:lnTo>
                <a:lnTo>
                  <a:pt x="369844" y="3259706"/>
                </a:lnTo>
                <a:lnTo>
                  <a:pt x="355711" y="3306231"/>
                </a:lnTo>
                <a:lnTo>
                  <a:pt x="341843" y="3352845"/>
                </a:lnTo>
                <a:lnTo>
                  <a:pt x="328242" y="3399546"/>
                </a:lnTo>
                <a:lnTo>
                  <a:pt x="314908" y="3446334"/>
                </a:lnTo>
                <a:lnTo>
                  <a:pt x="301842" y="3493207"/>
                </a:lnTo>
                <a:lnTo>
                  <a:pt x="289044" y="3540164"/>
                </a:lnTo>
                <a:lnTo>
                  <a:pt x="276515" y="3587204"/>
                </a:lnTo>
                <a:lnTo>
                  <a:pt x="264255" y="3634325"/>
                </a:lnTo>
                <a:lnTo>
                  <a:pt x="252265" y="3681528"/>
                </a:lnTo>
                <a:lnTo>
                  <a:pt x="240546" y="3728810"/>
                </a:lnTo>
                <a:lnTo>
                  <a:pt x="229098" y="3776169"/>
                </a:lnTo>
                <a:lnTo>
                  <a:pt x="217921" y="3823607"/>
                </a:lnTo>
                <a:lnTo>
                  <a:pt x="207017" y="3871120"/>
                </a:lnTo>
                <a:lnTo>
                  <a:pt x="196386" y="3918707"/>
                </a:lnTo>
                <a:lnTo>
                  <a:pt x="186027" y="3966369"/>
                </a:lnTo>
                <a:lnTo>
                  <a:pt x="175943" y="4014102"/>
                </a:lnTo>
                <a:lnTo>
                  <a:pt x="166133" y="4061907"/>
                </a:lnTo>
                <a:lnTo>
                  <a:pt x="156599" y="4109782"/>
                </a:lnTo>
                <a:lnTo>
                  <a:pt x="147340" y="4157726"/>
                </a:lnTo>
                <a:lnTo>
                  <a:pt x="138357" y="4205738"/>
                </a:lnTo>
                <a:lnTo>
                  <a:pt x="129651" y="4253816"/>
                </a:lnTo>
                <a:lnTo>
                  <a:pt x="121222" y="4301960"/>
                </a:lnTo>
                <a:lnTo>
                  <a:pt x="113072" y="4350168"/>
                </a:lnTo>
                <a:lnTo>
                  <a:pt x="105199" y="4398439"/>
                </a:lnTo>
                <a:lnTo>
                  <a:pt x="97606" y="4446772"/>
                </a:lnTo>
                <a:lnTo>
                  <a:pt x="90293" y="4495166"/>
                </a:lnTo>
                <a:lnTo>
                  <a:pt x="83259" y="4543620"/>
                </a:lnTo>
                <a:lnTo>
                  <a:pt x="76507" y="4592131"/>
                </a:lnTo>
                <a:lnTo>
                  <a:pt x="70036" y="4640700"/>
                </a:lnTo>
                <a:lnTo>
                  <a:pt x="63846" y="4689326"/>
                </a:lnTo>
                <a:lnTo>
                  <a:pt x="57940" y="4738006"/>
                </a:lnTo>
                <a:lnTo>
                  <a:pt x="52316" y="4786739"/>
                </a:lnTo>
                <a:lnTo>
                  <a:pt x="46976" y="4835526"/>
                </a:lnTo>
                <a:lnTo>
                  <a:pt x="41920" y="4884364"/>
                </a:lnTo>
                <a:lnTo>
                  <a:pt x="37148" y="4933252"/>
                </a:lnTo>
                <a:lnTo>
                  <a:pt x="32662" y="4982189"/>
                </a:lnTo>
                <a:lnTo>
                  <a:pt x="28462" y="5031174"/>
                </a:lnTo>
                <a:lnTo>
                  <a:pt x="24549" y="5080206"/>
                </a:lnTo>
                <a:lnTo>
                  <a:pt x="20922" y="5129284"/>
                </a:lnTo>
                <a:lnTo>
                  <a:pt x="17583" y="5178406"/>
                </a:lnTo>
                <a:lnTo>
                  <a:pt x="14533" y="5227571"/>
                </a:lnTo>
                <a:lnTo>
                  <a:pt x="11771" y="5276778"/>
                </a:lnTo>
                <a:lnTo>
                  <a:pt x="9298" y="5326026"/>
                </a:lnTo>
                <a:lnTo>
                  <a:pt x="7115" y="5375314"/>
                </a:lnTo>
                <a:lnTo>
                  <a:pt x="5223" y="5424641"/>
                </a:lnTo>
                <a:lnTo>
                  <a:pt x="3621" y="5474005"/>
                </a:lnTo>
                <a:lnTo>
                  <a:pt x="2311" y="5523405"/>
                </a:lnTo>
                <a:lnTo>
                  <a:pt x="1294" y="5572841"/>
                </a:lnTo>
                <a:lnTo>
                  <a:pt x="569" y="5622310"/>
                </a:lnTo>
                <a:lnTo>
                  <a:pt x="137" y="5671812"/>
                </a:lnTo>
                <a:lnTo>
                  <a:pt x="0" y="5721346"/>
                </a:lnTo>
                <a:lnTo>
                  <a:pt x="156" y="5770910"/>
                </a:lnTo>
                <a:lnTo>
                  <a:pt x="608" y="5820503"/>
                </a:lnTo>
                <a:lnTo>
                  <a:pt x="1355" y="5870125"/>
                </a:lnTo>
                <a:lnTo>
                  <a:pt x="2398" y="5919773"/>
                </a:lnTo>
                <a:lnTo>
                  <a:pt x="3739" y="5969447"/>
                </a:lnTo>
                <a:lnTo>
                  <a:pt x="5376" y="6019146"/>
                </a:lnTo>
                <a:lnTo>
                  <a:pt x="7311" y="6068868"/>
                </a:lnTo>
                <a:lnTo>
                  <a:pt x="9545" y="6118613"/>
                </a:lnTo>
                <a:lnTo>
                  <a:pt x="12077" y="6168378"/>
                </a:lnTo>
                <a:lnTo>
                  <a:pt x="14910" y="6218164"/>
                </a:lnTo>
                <a:lnTo>
                  <a:pt x="18042" y="6267968"/>
                </a:lnTo>
                <a:lnTo>
                  <a:pt x="21475" y="6317790"/>
                </a:lnTo>
                <a:lnTo>
                  <a:pt x="25209" y="6367629"/>
                </a:lnTo>
                <a:lnTo>
                  <a:pt x="29245" y="6417482"/>
                </a:lnTo>
                <a:lnTo>
                  <a:pt x="33584" y="6467350"/>
                </a:lnTo>
                <a:lnTo>
                  <a:pt x="38225" y="6517231"/>
                </a:lnTo>
                <a:lnTo>
                  <a:pt x="43170" y="6567123"/>
                </a:lnTo>
                <a:lnTo>
                  <a:pt x="48419" y="6617026"/>
                </a:lnTo>
                <a:lnTo>
                  <a:pt x="53973" y="6666939"/>
                </a:lnTo>
                <a:lnTo>
                  <a:pt x="59832" y="6716860"/>
                </a:lnTo>
                <a:lnTo>
                  <a:pt x="65997" y="6766788"/>
                </a:lnTo>
                <a:lnTo>
                  <a:pt x="72468" y="6816722"/>
                </a:lnTo>
                <a:lnTo>
                  <a:pt x="79246" y="6866660"/>
                </a:lnTo>
                <a:lnTo>
                  <a:pt x="86332" y="6916602"/>
                </a:lnTo>
                <a:lnTo>
                  <a:pt x="93726" y="6966547"/>
                </a:lnTo>
                <a:lnTo>
                  <a:pt x="101428" y="7016493"/>
                </a:lnTo>
                <a:lnTo>
                  <a:pt x="109440" y="7066439"/>
                </a:lnTo>
                <a:lnTo>
                  <a:pt x="117761" y="7116384"/>
                </a:lnTo>
                <a:lnTo>
                  <a:pt x="126393" y="7166327"/>
                </a:lnTo>
                <a:lnTo>
                  <a:pt x="135336" y="7216267"/>
                </a:lnTo>
                <a:lnTo>
                  <a:pt x="144192" y="7264666"/>
                </a:lnTo>
                <a:lnTo>
                  <a:pt x="153342" y="7313055"/>
                </a:lnTo>
                <a:lnTo>
                  <a:pt x="162788" y="7361433"/>
                </a:lnTo>
                <a:lnTo>
                  <a:pt x="172531" y="7409798"/>
                </a:lnTo>
                <a:lnTo>
                  <a:pt x="182571" y="7458151"/>
                </a:lnTo>
                <a:lnTo>
                  <a:pt x="192910" y="7506490"/>
                </a:lnTo>
                <a:lnTo>
                  <a:pt x="203549" y="7554816"/>
                </a:lnTo>
                <a:lnTo>
                  <a:pt x="214489" y="7603127"/>
                </a:lnTo>
                <a:lnTo>
                  <a:pt x="225730" y="7651423"/>
                </a:lnTo>
                <a:lnTo>
                  <a:pt x="237273" y="7699704"/>
                </a:lnTo>
                <a:lnTo>
                  <a:pt x="249121" y="7747968"/>
                </a:lnTo>
                <a:lnTo>
                  <a:pt x="261273" y="7796216"/>
                </a:lnTo>
                <a:lnTo>
                  <a:pt x="273730" y="7844446"/>
                </a:lnTo>
                <a:lnTo>
                  <a:pt x="286494" y="7892659"/>
                </a:lnTo>
                <a:lnTo>
                  <a:pt x="299566" y="7940853"/>
                </a:lnTo>
                <a:lnTo>
                  <a:pt x="312946" y="7989029"/>
                </a:lnTo>
                <a:lnTo>
                  <a:pt x="326636" y="8037184"/>
                </a:lnTo>
                <a:lnTo>
                  <a:pt x="340636" y="8085320"/>
                </a:lnTo>
                <a:lnTo>
                  <a:pt x="354948" y="8133434"/>
                </a:lnTo>
                <a:lnTo>
                  <a:pt x="369572" y="8181528"/>
                </a:lnTo>
                <a:lnTo>
                  <a:pt x="384510" y="8229600"/>
                </a:lnTo>
                <a:lnTo>
                  <a:pt x="6580205" y="8229600"/>
                </a:lnTo>
                <a:lnTo>
                  <a:pt x="6580205" y="0"/>
                </a:lnTo>
                <a:close/>
              </a:path>
            </a:pathLst>
          </a:custGeom>
          <a:solidFill>
            <a:srgbClr val="D5D5E8">
              <a:alpha val="19215"/>
            </a:srgbClr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40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Google Shape;164;p87">
            <a:extLst>
              <a:ext uri="{FF2B5EF4-FFF2-40B4-BE49-F238E27FC236}">
                <a16:creationId xmlns:a16="http://schemas.microsoft.com/office/drawing/2014/main" id="{139238D8-7FB8-3C4A-97BD-A1E0E5F2AAF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747447" y="4388364"/>
            <a:ext cx="5791004" cy="13102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noAutofit/>
          </a:bodyPr>
          <a:lstStyle>
            <a:lvl1pPr marL="380985" lvl="0" indent="-19049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600"/>
              <a:buNone/>
              <a:defRPr sz="1500" b="0" i="0" u="none" strike="noStrike" cap="none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761970" lvl="1" indent="-190492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ts val="1600"/>
              <a:buNone/>
              <a:defRPr sz="1333" b="0" i="0" u="none" strike="noStrike" cap="none">
                <a:solidFill>
                  <a:srgbClr val="A7A9AC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2954" lvl="2" indent="-190492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ts val="1600"/>
              <a:buNone/>
              <a:defRPr sz="1333" b="0" i="0" u="none" strike="noStrike" cap="none">
                <a:solidFill>
                  <a:srgbClr val="A7A9AC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523939" lvl="3" indent="-190492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ts val="1600"/>
              <a:buNone/>
              <a:defRPr sz="1333" b="0" i="0" u="none" strike="noStrike" cap="none">
                <a:solidFill>
                  <a:srgbClr val="A7A9AC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904924" lvl="4" indent="-190492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ts val="1600"/>
              <a:buNone/>
              <a:defRPr sz="1333" b="0" i="0" u="none" strike="noStrike" cap="none">
                <a:solidFill>
                  <a:srgbClr val="A7A9AC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5909" lvl="5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666893" lvl="6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047878" lvl="7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428863" lvl="8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" name="Google Shape;165;p87">
            <a:extLst>
              <a:ext uri="{FF2B5EF4-FFF2-40B4-BE49-F238E27FC236}">
                <a16:creationId xmlns:a16="http://schemas.microsoft.com/office/drawing/2014/main" id="{D7329632-01E7-144B-9DD0-43ACF336A06B}"/>
              </a:ext>
            </a:extLst>
          </p:cNvPr>
          <p:cNvSpPr txBox="1">
            <a:spLocks noGrp="1"/>
          </p:cNvSpPr>
          <p:nvPr>
            <p:ph type="body" idx="2"/>
          </p:nvPr>
        </p:nvSpPr>
        <p:spPr>
          <a:xfrm>
            <a:off x="735542" y="5915818"/>
            <a:ext cx="5791004" cy="3894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380985" lvl="0" indent="-19049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A7A9AC"/>
              </a:buClr>
              <a:buSzPts val="1800"/>
              <a:buNone/>
              <a:defRPr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761970" lvl="1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2954" lvl="2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523939" lvl="3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904924" lvl="4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5909" lvl="5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666893" lvl="6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047878" lvl="7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428863" lvl="8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" name="Google Shape;166;p87">
            <a:extLst>
              <a:ext uri="{FF2B5EF4-FFF2-40B4-BE49-F238E27FC236}">
                <a16:creationId xmlns:a16="http://schemas.microsoft.com/office/drawing/2014/main" id="{2094BD09-3C19-314F-BB21-22F50E2C5657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745887" y="763318"/>
            <a:ext cx="3399645" cy="750266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Google Shape;167;p87">
            <a:extLst>
              <a:ext uri="{FF2B5EF4-FFF2-40B4-BE49-F238E27FC236}">
                <a16:creationId xmlns:a16="http://schemas.microsoft.com/office/drawing/2014/main" id="{4B8038BD-9FDD-B249-ADDA-32EAD7AAA056}"/>
              </a:ext>
            </a:extLst>
          </p:cNvPr>
          <p:cNvSpPr txBox="1"/>
          <p:nvPr userDrawn="1"/>
        </p:nvSpPr>
        <p:spPr>
          <a:xfrm>
            <a:off x="3359699" y="2210418"/>
            <a:ext cx="2244033" cy="10634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7604" rIns="0" bIns="0" anchor="t" anchorCtr="0">
            <a:noAutofit/>
          </a:bodyPr>
          <a:lstStyle/>
          <a:p>
            <a:pPr marL="10583" marR="4233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</a:pPr>
            <a:r>
              <a:rPr lang="en-US" sz="1833" b="1" i="0" u="none" strike="noStrike" cap="none" dirty="0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Name of Manufacturer </a:t>
            </a:r>
            <a:r>
              <a:rPr lang="en-US" sz="1500" b="0" i="0" u="none" strike="noStrike" cap="none" dirty="0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123 ABC Parkway  </a:t>
            </a:r>
          </a:p>
          <a:p>
            <a:pPr marL="10583" marR="4233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</a:pPr>
            <a:r>
              <a:rPr lang="en-US" sz="1500" b="0" i="0" u="none" strike="noStrike" cap="none" dirty="0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City, State 12345</a:t>
            </a:r>
            <a:endParaRPr sz="1500" b="0" i="0" u="none" strike="noStrike" cap="none" dirty="0">
              <a:solidFill>
                <a:schemeClr val="accent6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0583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500" b="0" i="0" u="none" strike="noStrike" cap="none" dirty="0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USA</a:t>
            </a:r>
            <a:endParaRPr sz="1500" b="0" i="0" u="none" strike="noStrike" cap="none" dirty="0">
              <a:solidFill>
                <a:schemeClr val="accent6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" name="Google Shape;168;p87">
            <a:extLst>
              <a:ext uri="{FF2B5EF4-FFF2-40B4-BE49-F238E27FC236}">
                <a16:creationId xmlns:a16="http://schemas.microsoft.com/office/drawing/2014/main" id="{F5C0E119-048C-374B-9D78-B6521DE34FFE}"/>
              </a:ext>
            </a:extLst>
          </p:cNvPr>
          <p:cNvSpPr txBox="1"/>
          <p:nvPr userDrawn="1"/>
        </p:nvSpPr>
        <p:spPr>
          <a:xfrm>
            <a:off x="6358443" y="2210418"/>
            <a:ext cx="3092333" cy="10160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7604" rIns="0" bIns="0" anchor="t" anchorCtr="0">
            <a:noAutofit/>
          </a:bodyPr>
          <a:lstStyle/>
          <a:p>
            <a:pPr marL="10583" marR="204249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</a:pPr>
            <a:r>
              <a:rPr lang="en-US" sz="1833" b="1" i="0" u="none" strike="noStrike" cap="none" dirty="0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Name of EC Rep</a:t>
            </a:r>
          </a:p>
          <a:p>
            <a:pPr marL="10583" marR="204249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</a:pPr>
            <a:r>
              <a:rPr lang="en-US" sz="1500" b="0" i="0" u="none" strike="noStrike" cap="none" dirty="0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123 ABC Parkway </a:t>
            </a:r>
          </a:p>
          <a:p>
            <a:pPr marL="10583" marR="204249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</a:pPr>
            <a:r>
              <a:rPr lang="en-US" sz="1500" b="1" i="0" u="none" strike="noStrike" cap="none" dirty="0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example: </a:t>
            </a:r>
            <a:r>
              <a:rPr lang="en-US" sz="1500" b="0" i="0" u="none" strike="noStrike" cap="none" dirty="0" err="1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Scheelevagen</a:t>
            </a:r>
            <a:r>
              <a:rPr lang="en-US" sz="1500" b="0" i="0" u="none" strike="noStrike" cap="none" dirty="0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 17</a:t>
            </a:r>
            <a:endParaRPr sz="1500" dirty="0"/>
          </a:p>
          <a:p>
            <a:pPr marL="10583" marR="204249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500" b="1" i="0" u="none" strike="noStrike" cap="none" dirty="0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example: </a:t>
            </a:r>
            <a:r>
              <a:rPr lang="en-US" sz="1500" b="0" i="0" u="none" strike="noStrike" cap="none" dirty="0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SE-223 Lund Sweden</a:t>
            </a:r>
            <a:endParaRPr sz="1500" b="0" i="0" u="none" strike="noStrike" cap="none" dirty="0">
              <a:solidFill>
                <a:schemeClr val="accent6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" name="Google Shape;169;p87">
            <a:extLst>
              <a:ext uri="{FF2B5EF4-FFF2-40B4-BE49-F238E27FC236}">
                <a16:creationId xmlns:a16="http://schemas.microsoft.com/office/drawing/2014/main" id="{D6A369E8-6ECD-DA43-B2A7-F7DA629E4EE7}"/>
              </a:ext>
            </a:extLst>
          </p:cNvPr>
          <p:cNvSpPr txBox="1"/>
          <p:nvPr userDrawn="1"/>
        </p:nvSpPr>
        <p:spPr>
          <a:xfrm>
            <a:off x="9199371" y="2210418"/>
            <a:ext cx="2444790" cy="20384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7604" rIns="0" bIns="0" anchor="t" anchorCtr="0">
            <a:noAutofit/>
          </a:bodyPr>
          <a:lstStyle/>
          <a:p>
            <a:pPr marL="10583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</a:pPr>
            <a:r>
              <a:rPr lang="en-US" sz="1833" b="1" i="0" u="none" strike="noStrike" cap="none" dirty="0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Australian Headquarters</a:t>
            </a:r>
            <a:endParaRPr sz="1833" b="0" i="0" u="none" strike="noStrike" cap="none" dirty="0">
              <a:solidFill>
                <a:schemeClr val="accent6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0583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500" b="0" i="0" u="none" strike="noStrike" cap="none" dirty="0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Vyaire Medical Pty Ltd</a:t>
            </a:r>
            <a:endParaRPr sz="1167" b="0" i="0" u="none" strike="noStrike" cap="none" dirty="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0583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500" b="0" i="0" u="none" strike="noStrike" cap="none" dirty="0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Suite 5.03, Building C</a:t>
            </a:r>
            <a:endParaRPr sz="1167" b="0" i="0" u="none" strike="noStrike" cap="none" dirty="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0583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500" b="0" i="0" u="none" strike="noStrike" cap="none" dirty="0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11 Talavera Road</a:t>
            </a:r>
            <a:endParaRPr sz="1167" b="0" i="0" u="none" strike="noStrike" cap="none" dirty="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0583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500" b="0" i="0" u="none" strike="noStrike" cap="none" dirty="0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Macquarie Park, NSW 2113</a:t>
            </a:r>
            <a:endParaRPr sz="1167" b="0" i="0" u="none" strike="noStrike" cap="none" dirty="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0583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500" b="0" i="0" u="none" strike="noStrike" cap="none" dirty="0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Australia </a:t>
            </a:r>
            <a:endParaRPr sz="1500" b="0" i="0" u="none" strike="noStrike" cap="none" dirty="0">
              <a:solidFill>
                <a:schemeClr val="accent6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1" name="Google Shape;170;p87">
            <a:extLst>
              <a:ext uri="{FF2B5EF4-FFF2-40B4-BE49-F238E27FC236}">
                <a16:creationId xmlns:a16="http://schemas.microsoft.com/office/drawing/2014/main" id="{C455E86B-2C2F-2349-AB66-3859948D3A30}"/>
              </a:ext>
            </a:extLst>
          </p:cNvPr>
          <p:cNvPicPr preferRelativeResize="0"/>
          <p:nvPr userDrawn="1"/>
        </p:nvPicPr>
        <p:blipFill rotWithShape="1">
          <a:blip r:embed="rId3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33603" y="2278857"/>
            <a:ext cx="169885" cy="168617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Google Shape;171;p87">
            <a:extLst>
              <a:ext uri="{FF2B5EF4-FFF2-40B4-BE49-F238E27FC236}">
                <a16:creationId xmlns:a16="http://schemas.microsoft.com/office/drawing/2014/main" id="{DAC1341D-5DFA-6B42-8819-219137C41A29}"/>
              </a:ext>
            </a:extLst>
          </p:cNvPr>
          <p:cNvPicPr preferRelativeResize="0"/>
          <p:nvPr userDrawn="1"/>
        </p:nvPicPr>
        <p:blipFill rotWithShape="1">
          <a:blip r:embed="rId4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36170" y="2279833"/>
            <a:ext cx="450676" cy="16764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Google Shape;172;p87">
            <a:extLst>
              <a:ext uri="{FF2B5EF4-FFF2-40B4-BE49-F238E27FC236}">
                <a16:creationId xmlns:a16="http://schemas.microsoft.com/office/drawing/2014/main" id="{2F1C5A43-838D-D343-A338-9177120EA8C6}"/>
              </a:ext>
            </a:extLst>
          </p:cNvPr>
          <p:cNvPicPr preferRelativeResize="0"/>
          <p:nvPr userDrawn="1"/>
        </p:nvPicPr>
        <p:blipFill rotWithShape="1">
          <a:blip r:embed="rId5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15779" y="2278857"/>
            <a:ext cx="250453" cy="16861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2171850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 reference: brand color pal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C72613-24A0-654E-BD0C-6B63DA18B3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Brand Color Palette</a:t>
            </a:r>
          </a:p>
        </p:txBody>
      </p:sp>
      <p:graphicFrame>
        <p:nvGraphicFramePr>
          <p:cNvPr id="25" name="Google Shape;188;p54">
            <a:extLst>
              <a:ext uri="{FF2B5EF4-FFF2-40B4-BE49-F238E27FC236}">
                <a16:creationId xmlns:a16="http://schemas.microsoft.com/office/drawing/2014/main" id="{6A242C66-F6C9-5F47-860E-BA0751E99526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81934316"/>
              </p:ext>
            </p:extLst>
          </p:nvPr>
        </p:nvGraphicFramePr>
        <p:xfrm>
          <a:off x="472000" y="1464622"/>
          <a:ext cx="8563143" cy="4529926"/>
        </p:xfrm>
        <a:graphic>
          <a:graphicData uri="http://schemas.openxmlformats.org/drawingml/2006/table">
            <a:tbl>
              <a:tblPr firstRow="1" bandRow="1">
                <a:noFill/>
              </a:tblPr>
              <a:tblGrid>
                <a:gridCol w="24491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532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1643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1599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9881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2953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264963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endParaRPr sz="1700" u="none" strike="noStrike" cap="none" dirty="0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endParaRPr sz="1700" u="none" strike="noStrike" cap="none" dirty="0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endParaRPr sz="1700" u="none" strike="noStrike" cap="none" dirty="0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endParaRPr sz="1700" u="none" strike="noStrike" cap="none" dirty="0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1265555" marR="0" lvl="0" indent="0" algn="l" rtl="0">
                        <a:lnSpc>
                          <a:spcPct val="100000"/>
                        </a:lnSpc>
                        <a:spcBef>
                          <a:spcPts val="1715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r>
                        <a:rPr lang="en-US" sz="1700" b="1" u="none" strike="noStrike" cap="none" dirty="0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#130F32</a:t>
                      </a:r>
                      <a:endParaRPr sz="1700" u="none" strike="noStrike" cap="none" dirty="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>
                    <a:lnR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B w="1905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130F3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endParaRPr sz="1700" u="none" strike="noStrike" cap="none" dirty="0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endParaRPr sz="1700" u="none" strike="noStrike" cap="none" dirty="0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endParaRPr sz="1700" u="none" strike="noStrike" cap="none" dirty="0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endParaRPr sz="1700" u="none" strike="noStrike" cap="none" dirty="0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1258570" marR="0" lvl="0" indent="0" algn="l" rtl="0">
                        <a:lnSpc>
                          <a:spcPct val="100000"/>
                        </a:lnSpc>
                        <a:spcBef>
                          <a:spcPts val="1715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r>
                        <a:rPr lang="en-US" sz="1700" b="1" u="none" strike="noStrike" cap="none" dirty="0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#2C2B94</a:t>
                      </a:r>
                      <a:endParaRPr sz="1700" u="none" strike="noStrike" cap="none" dirty="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>
                    <a:lnL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B w="1905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2E3090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3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3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3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3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3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3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3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3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3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3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3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3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3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298450" marR="0" lvl="0" indent="0" algn="l" rtl="0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r>
                        <a:rPr lang="en-US" sz="1300" b="1" u="none" strike="noStrike" cap="none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#58595B</a:t>
                      </a:r>
                      <a:endParaRPr sz="13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>
                    <a:lnL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solidFill>
                      <a:srgbClr val="58595B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3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3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3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3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3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3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3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3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3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3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3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3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3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288290" marR="0" lvl="0" indent="0" algn="l" rtl="0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r>
                        <a:rPr lang="en-US" sz="1300" b="1" u="none" strike="noStrike" cap="none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#4D4D4F</a:t>
                      </a:r>
                      <a:endParaRPr sz="13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>
                    <a:lnL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solidFill>
                      <a:srgbClr val="70707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300" u="none" strike="noStrike" cap="none" dirty="0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300" u="none" strike="noStrike" cap="none" dirty="0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300" u="none" strike="noStrike" cap="none" dirty="0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300" u="none" strike="noStrike" cap="none" dirty="0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300" u="none" strike="noStrike" cap="none" dirty="0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300" u="none" strike="noStrike" cap="none" dirty="0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300" u="none" strike="noStrike" cap="none" dirty="0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300" u="none" strike="noStrike" cap="none" dirty="0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300" u="none" strike="noStrike" cap="none" dirty="0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300" u="none" strike="noStrike" cap="none" dirty="0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300" u="none" strike="noStrike" cap="none" dirty="0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300" u="none" strike="noStrike" cap="none" dirty="0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300" u="none" strike="noStrike" cap="none" dirty="0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267970" marR="0" lvl="0" indent="0" algn="l" rtl="0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r>
                        <a:rPr lang="en-US" sz="1300" b="1" u="none" strike="noStrike" cap="none" dirty="0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#A7A9AC</a:t>
                      </a:r>
                      <a:endParaRPr sz="1300" u="none" strike="noStrike" cap="none" dirty="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>
                    <a:lnL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solidFill>
                      <a:srgbClr val="A7A9AC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3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3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3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3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3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3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3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3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3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3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3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3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endParaRPr sz="1300" u="none" strike="noStrike" cap="none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309880" marR="0" lvl="0" indent="0" algn="l" rtl="0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500"/>
                        <a:buFont typeface="Arial"/>
                        <a:buNone/>
                      </a:pPr>
                      <a:r>
                        <a:rPr lang="en-US" sz="1300" b="1" u="none" strike="noStrike" cap="none">
                          <a:solidFill>
                            <a:srgbClr val="A7A9AC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#F1F2F2</a:t>
                      </a:r>
                      <a:endParaRPr sz="13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>
                    <a:lnL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solidFill>
                      <a:srgbClr val="F1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64963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endParaRPr sz="1700" u="none" strike="noStrike" cap="none" dirty="0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endParaRPr sz="1700" u="none" strike="noStrike" cap="none" dirty="0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endParaRPr sz="1700" u="none" strike="noStrike" cap="none" dirty="0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endParaRPr sz="1700" u="none" strike="noStrike" cap="none" dirty="0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1250950" marR="0" lvl="0" indent="0" algn="l" rtl="0">
                        <a:lnSpc>
                          <a:spcPct val="100000"/>
                        </a:lnSpc>
                        <a:spcBef>
                          <a:spcPts val="165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r>
                        <a:rPr lang="en-US" sz="1700" b="1" u="none" strike="noStrike" cap="none" dirty="0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#EA0029</a:t>
                      </a:r>
                      <a:endParaRPr sz="1700" u="none" strike="noStrike" cap="none" dirty="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>
                    <a:lnR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905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EA002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endParaRPr sz="1700" u="none" strike="noStrike" cap="none" dirty="0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endParaRPr sz="1700" u="none" strike="noStrike" cap="none" dirty="0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endParaRPr sz="1700" u="none" strike="noStrike" cap="none" dirty="0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endParaRPr sz="1700" u="none" strike="noStrike" cap="none" dirty="0"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  <a:p>
                      <a:pPr marL="1268095" marR="0" lvl="0" indent="0" algn="l" rtl="0">
                        <a:lnSpc>
                          <a:spcPct val="100000"/>
                        </a:lnSpc>
                        <a:spcBef>
                          <a:spcPts val="165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r>
                        <a:rPr lang="en-US" sz="1700" b="1" u="none" strike="noStrike" cap="none" dirty="0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#982324</a:t>
                      </a:r>
                      <a:endParaRPr sz="1700" u="none" strike="noStrike" cap="none" dirty="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>
                    <a:lnL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905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97232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C869D807-8F95-D845-9173-6ECFA2DE1A70}"/>
              </a:ext>
            </a:extLst>
          </p:cNvPr>
          <p:cNvSpPr txBox="1"/>
          <p:nvPr userDrawn="1"/>
        </p:nvSpPr>
        <p:spPr>
          <a:xfrm>
            <a:off x="9165080" y="1464623"/>
            <a:ext cx="2690453" cy="39151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Font typeface="Arial" panose="020B0604020202020204" pitchFamily="34" charset="0"/>
              <a:buNone/>
            </a:pPr>
            <a:r>
              <a:rPr lang="en-US" sz="1167" b="1" i="0" u="none" strike="noStrike" cap="none" dirty="0">
                <a:solidFill>
                  <a:schemeClr val="accent2"/>
                </a:solidFill>
                <a:effectLst/>
                <a:latin typeface="Calibri" panose="020F0502020204030204" pitchFamily="34" charset="0"/>
                <a:ea typeface="Arial"/>
                <a:cs typeface="Calibri" panose="020F0502020204030204" pitchFamily="34" charset="0"/>
                <a:sym typeface="Arial"/>
              </a:rPr>
              <a:t>GUIDELINES FOR USE OF RED </a:t>
            </a:r>
          </a:p>
          <a:p>
            <a:pPr marL="238115" indent="-238115">
              <a:buFont typeface="Arial" panose="020B0604020202020204" pitchFamily="34" charset="0"/>
              <a:buChar char="•"/>
            </a:pPr>
            <a:r>
              <a:rPr lang="en-US" sz="1167" b="0" i="0" u="none" strike="noStrike" cap="none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Arial"/>
                <a:cs typeface="Calibri" panose="020F0502020204030204" pitchFamily="34" charset="0"/>
                <a:sym typeface="Arial"/>
              </a:rPr>
              <a:t>Use red sparingly to emphasize or accent a word or product attribute </a:t>
            </a:r>
          </a:p>
          <a:p>
            <a:pPr marL="238115" lvl="1" indent="-238115">
              <a:buFont typeface="Arial" panose="020B0604020202020204" pitchFamily="34" charset="0"/>
              <a:buChar char="•"/>
            </a:pPr>
            <a:endParaRPr lang="en-US" sz="1167" b="0" i="0" u="none" strike="noStrike" cap="none" dirty="0">
              <a:solidFill>
                <a:srgbClr val="000000"/>
              </a:solidFill>
              <a:effectLst/>
              <a:latin typeface="Calibri" panose="020F0502020204030204" pitchFamily="34" charset="0"/>
              <a:ea typeface="Arial"/>
              <a:cs typeface="Calibri" panose="020F0502020204030204" pitchFamily="34" charset="0"/>
              <a:sym typeface="Arial"/>
            </a:endParaRPr>
          </a:p>
          <a:p>
            <a:pPr marL="238115" lvl="1" indent="-238115">
              <a:buFont typeface="Arial" panose="020B0604020202020204" pitchFamily="34" charset="0"/>
              <a:buChar char="•"/>
            </a:pPr>
            <a:r>
              <a:rPr lang="en-US" sz="1167" b="0" i="0" u="none" strike="noStrike" cap="none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Arial"/>
                <a:cs typeface="Calibri" panose="020F0502020204030204" pitchFamily="34" charset="0"/>
                <a:sym typeface="Arial"/>
              </a:rPr>
              <a:t>No red for product names </a:t>
            </a:r>
          </a:p>
          <a:p>
            <a:pPr marL="238115" indent="-238115">
              <a:buFont typeface="Arial" panose="020B0604020202020204" pitchFamily="34" charset="0"/>
              <a:buChar char="•"/>
            </a:pPr>
            <a:endParaRPr lang="en-US" sz="1167" b="0" i="0" u="none" strike="noStrike" cap="none" dirty="0">
              <a:solidFill>
                <a:srgbClr val="000000"/>
              </a:solidFill>
              <a:effectLst/>
              <a:latin typeface="Calibri" panose="020F0502020204030204" pitchFamily="34" charset="0"/>
              <a:ea typeface="Arial"/>
              <a:cs typeface="Calibri" panose="020F0502020204030204" pitchFamily="34" charset="0"/>
              <a:sym typeface="Arial"/>
            </a:endParaRPr>
          </a:p>
          <a:p>
            <a:pPr marL="238115" indent="-238115">
              <a:buFont typeface="Arial" panose="020B0604020202020204" pitchFamily="34" charset="0"/>
              <a:buChar char="•"/>
            </a:pPr>
            <a:r>
              <a:rPr lang="en-US" sz="1167" b="0" i="0" u="none" strike="noStrike" cap="none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Arial"/>
                <a:cs typeface="Calibri" panose="020F0502020204030204" pitchFamily="34" charset="0"/>
                <a:sym typeface="Arial"/>
              </a:rPr>
              <a:t>Only use red as an accent in print and digital communications </a:t>
            </a:r>
          </a:p>
          <a:p>
            <a:pPr marL="238115" indent="-238115">
              <a:buFont typeface="Arial" panose="020B0604020202020204" pitchFamily="34" charset="0"/>
              <a:buChar char="•"/>
            </a:pPr>
            <a:endParaRPr lang="en-US" sz="1167" b="0" i="0" u="none" strike="noStrike" cap="none" dirty="0">
              <a:solidFill>
                <a:srgbClr val="000000"/>
              </a:solidFill>
              <a:effectLst/>
              <a:latin typeface="Calibri" panose="020F0502020204030204" pitchFamily="34" charset="0"/>
              <a:ea typeface="Arial"/>
              <a:cs typeface="Calibri" panose="020F0502020204030204" pitchFamily="34" charset="0"/>
              <a:sym typeface="Arial"/>
            </a:endParaRPr>
          </a:p>
          <a:p>
            <a:pPr marL="238115" indent="-238115">
              <a:buFont typeface="Arial" panose="020B0604020202020204" pitchFamily="34" charset="0"/>
              <a:buChar char="•"/>
            </a:pPr>
            <a:r>
              <a:rPr lang="en-US" sz="1167" b="0" i="0" u="none" strike="noStrike" cap="none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Arial"/>
                <a:cs typeface="Calibri" panose="020F0502020204030204" pitchFamily="34" charset="0"/>
                <a:sym typeface="Arial"/>
              </a:rPr>
              <a:t>Only use red text in print or digital materials on a gray or white background </a:t>
            </a:r>
          </a:p>
          <a:p>
            <a:pPr marL="238115" indent="-238115">
              <a:buFont typeface="Arial" panose="020B0604020202020204" pitchFamily="34" charset="0"/>
              <a:buChar char="•"/>
            </a:pPr>
            <a:endParaRPr lang="en-US" sz="1167" b="0" i="0" u="none" strike="noStrike" cap="none" dirty="0">
              <a:solidFill>
                <a:srgbClr val="000000"/>
              </a:solidFill>
              <a:effectLst/>
              <a:latin typeface="Calibri" panose="020F0502020204030204" pitchFamily="34" charset="0"/>
              <a:ea typeface="Arial"/>
              <a:cs typeface="Calibri" panose="020F0502020204030204" pitchFamily="34" charset="0"/>
              <a:sym typeface="Arial"/>
            </a:endParaRPr>
          </a:p>
          <a:p>
            <a:pPr marL="238115" indent="-238115">
              <a:buFont typeface="Arial" panose="020B0604020202020204" pitchFamily="34" charset="0"/>
              <a:buChar char="•"/>
            </a:pPr>
            <a:r>
              <a:rPr lang="en-US" sz="1167" b="0" i="0" u="none" strike="noStrike" cap="none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Arial"/>
                <a:cs typeface="Calibri" panose="020F0502020204030204" pitchFamily="34" charset="0"/>
                <a:sym typeface="Arial"/>
              </a:rPr>
              <a:t>Red cannot be used on a blue background </a:t>
            </a:r>
          </a:p>
          <a:p>
            <a:pPr marL="238115" indent="-238115">
              <a:buFont typeface="Arial" panose="020B0604020202020204" pitchFamily="34" charset="0"/>
              <a:buChar char="•"/>
            </a:pPr>
            <a:endParaRPr lang="en-US" sz="1167" b="0" i="0" u="none" strike="noStrike" cap="none" dirty="0">
              <a:solidFill>
                <a:srgbClr val="000000"/>
              </a:solidFill>
              <a:effectLst/>
              <a:latin typeface="Calibri" panose="020F0502020204030204" pitchFamily="34" charset="0"/>
              <a:ea typeface="Arial"/>
              <a:cs typeface="Calibri" panose="020F0502020204030204" pitchFamily="34" charset="0"/>
              <a:sym typeface="Arial"/>
            </a:endParaRPr>
          </a:p>
          <a:p>
            <a:pPr marL="238115" indent="-238115">
              <a:buFont typeface="Arial" panose="020B0604020202020204" pitchFamily="34" charset="0"/>
              <a:buChar char="•"/>
            </a:pPr>
            <a:r>
              <a:rPr lang="en-US" sz="1167" b="0" i="0" u="none" strike="noStrike" cap="none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Arial"/>
                <a:cs typeface="Calibri" panose="020F0502020204030204" pitchFamily="34" charset="0"/>
                <a:sym typeface="Arial"/>
              </a:rPr>
              <a:t>No full red backgrounds </a:t>
            </a:r>
          </a:p>
          <a:p>
            <a:pPr marL="238115" indent="-238115">
              <a:buFont typeface="Arial" panose="020B0604020202020204" pitchFamily="34" charset="0"/>
              <a:buChar char="•"/>
            </a:pPr>
            <a:endParaRPr lang="en-US" sz="1167" b="0" i="0" u="none" strike="noStrike" cap="none" dirty="0">
              <a:solidFill>
                <a:srgbClr val="000000"/>
              </a:solidFill>
              <a:effectLst/>
              <a:latin typeface="Calibri" panose="020F0502020204030204" pitchFamily="34" charset="0"/>
              <a:ea typeface="Arial"/>
              <a:cs typeface="Calibri" panose="020F0502020204030204" pitchFamily="34" charset="0"/>
              <a:sym typeface="Arial"/>
            </a:endParaRPr>
          </a:p>
          <a:p>
            <a:pPr marL="238115" indent="-238115">
              <a:buFont typeface="Arial" panose="020B0604020202020204" pitchFamily="34" charset="0"/>
              <a:buChar char="•"/>
            </a:pPr>
            <a:r>
              <a:rPr lang="en-US" sz="1167" b="0" i="0" u="none" strike="noStrike" cap="none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Arial"/>
                <a:cs typeface="Calibri" panose="020F0502020204030204" pitchFamily="34" charset="0"/>
                <a:sym typeface="Arial"/>
              </a:rPr>
              <a:t>No red in headlines in PPT presentations</a:t>
            </a:r>
          </a:p>
          <a:p>
            <a:endParaRPr lang="en-US" sz="15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75666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 - Editable Footer: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Vyaire-Wave_Final.pn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72800" y="6391375"/>
            <a:ext cx="1063800" cy="227848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4A9A5E86-74C6-3146-980E-74DA551691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5" y="150164"/>
            <a:ext cx="11074396" cy="741042"/>
          </a:xfrm>
          <a:prstGeom prst="rect">
            <a:avLst/>
          </a:prstGeom>
        </p:spPr>
        <p:txBody>
          <a:bodyPr anchor="ctr" anchorCtr="0"/>
          <a:lstStyle>
            <a:lvl1pPr algn="l">
              <a:defRPr sz="2400" b="0">
                <a:solidFill>
                  <a:srgbClr val="173075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20E2BC7-E507-2748-BCF4-93394B86C150}"/>
              </a:ext>
            </a:extLst>
          </p:cNvPr>
          <p:cNvSpPr/>
          <p:nvPr userDrawn="1"/>
        </p:nvSpPr>
        <p:spPr>
          <a:xfrm>
            <a:off x="0" y="6706221"/>
            <a:ext cx="12192000" cy="151780"/>
          </a:xfrm>
          <a:prstGeom prst="rect">
            <a:avLst/>
          </a:prstGeom>
          <a:solidFill>
            <a:srgbClr val="17307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8F213C3-F179-CF48-B561-45DAECE06F29}"/>
              </a:ext>
            </a:extLst>
          </p:cNvPr>
          <p:cNvSpPr txBox="1"/>
          <p:nvPr userDrawn="1"/>
        </p:nvSpPr>
        <p:spPr>
          <a:xfrm>
            <a:off x="8786840" y="6715028"/>
            <a:ext cx="1950720" cy="142972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marL="0" marR="0" lvl="0" indent="0" algn="ctr" defTabSz="457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25" b="1" i="0" baseline="0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FIDENTIAL </a:t>
            </a:r>
            <a:r>
              <a:rPr lang="mr-IN" sz="525" b="1" i="0" baseline="0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</a:rPr>
              <a:t>–</a:t>
            </a:r>
            <a:r>
              <a:rPr lang="en-US" sz="525" b="1" i="0" baseline="0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Internal Use Only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FC4E239E-2656-6A42-A2AA-0707116899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6705600"/>
            <a:ext cx="3251200" cy="152400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53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2" indent="0">
              <a:buFontTx/>
              <a:buNone/>
              <a:defRPr sz="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63" indent="0">
              <a:buFontTx/>
              <a:buNone/>
              <a:defRPr sz="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45" indent="0">
              <a:buFontTx/>
              <a:buNone/>
              <a:defRPr sz="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27" indent="0">
              <a:buFontTx/>
              <a:buNone/>
              <a:defRPr sz="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5A4FEE3C-97D6-7A42-8E07-632EBFEC55FE}"/>
              </a:ext>
            </a:extLst>
          </p:cNvPr>
          <p:cNvSpPr txBox="1">
            <a:spLocks/>
          </p:cNvSpPr>
          <p:nvPr userDrawn="1"/>
        </p:nvSpPr>
        <p:spPr>
          <a:xfrm>
            <a:off x="211706" y="6413481"/>
            <a:ext cx="795791" cy="29243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7F7F7F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7A50C51-39D1-4540-97F5-99C459F216AC}" type="slidenum">
              <a:rPr lang="en-US" sz="1000" smtClean="0"/>
              <a:pPr/>
              <a:t>‹#›</a:t>
            </a:fld>
            <a:endParaRPr lang="en-US" sz="1000" dirty="0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5F4C5786-FB50-5847-A15C-023F03B485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0" y="1143000"/>
            <a:ext cx="10871200" cy="3886200"/>
          </a:xfrm>
          <a:prstGeom prst="rect">
            <a:avLst/>
          </a:prstGeom>
        </p:spPr>
        <p:txBody>
          <a:bodyPr/>
          <a:lstStyle>
            <a:lvl1pPr>
              <a:buClr>
                <a:srgbClr val="6FB7D7"/>
              </a:buClr>
              <a:defRPr sz="24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6FB7D7"/>
              </a:buClr>
              <a:defRPr sz="2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6FB7D7"/>
              </a:buClr>
              <a:defRPr sz="18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6FB7D7"/>
              </a:buClr>
              <a:defRPr sz="16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6FB7D7"/>
              </a:buClr>
              <a:defRPr sz="16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4656704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535114"/>
            <a:ext cx="5386917" cy="639763"/>
          </a:xfrm>
        </p:spPr>
        <p:txBody>
          <a:bodyPr anchor="b">
            <a:normAutofit/>
          </a:bodyPr>
          <a:lstStyle>
            <a:lvl1pPr marL="0" indent="0">
              <a:buNone/>
              <a:defRPr sz="2400" b="1"/>
            </a:lvl1pPr>
            <a:lvl2pPr marL="609561" indent="0">
              <a:buNone/>
              <a:defRPr sz="2667" b="1"/>
            </a:lvl2pPr>
            <a:lvl3pPr marL="1219121" indent="0">
              <a:buNone/>
              <a:defRPr sz="2400" b="1"/>
            </a:lvl3pPr>
            <a:lvl4pPr marL="1828681" indent="0">
              <a:buNone/>
              <a:defRPr sz="2133" b="1"/>
            </a:lvl4pPr>
            <a:lvl5pPr marL="2438242" indent="0">
              <a:buNone/>
              <a:defRPr sz="2133" b="1"/>
            </a:lvl5pPr>
            <a:lvl6pPr marL="3047802" indent="0">
              <a:buNone/>
              <a:defRPr sz="2133" b="1"/>
            </a:lvl6pPr>
            <a:lvl7pPr marL="3657363" indent="0">
              <a:buNone/>
              <a:defRPr sz="2133" b="1"/>
            </a:lvl7pPr>
            <a:lvl8pPr marL="4266923" indent="0">
              <a:buNone/>
              <a:defRPr sz="2133" b="1"/>
            </a:lvl8pPr>
            <a:lvl9pPr marL="4876483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1" y="2174875"/>
            <a:ext cx="5386917" cy="3951288"/>
          </a:xfrm>
        </p:spPr>
        <p:txBody>
          <a:bodyPr/>
          <a:lstStyle>
            <a:lvl1pPr>
              <a:buClr>
                <a:srgbClr val="72B1D4"/>
              </a:buClr>
              <a:defRPr sz="2667"/>
            </a:lvl1pPr>
            <a:lvl2pPr>
              <a:buClr>
                <a:srgbClr val="72B1D4"/>
              </a:buClr>
              <a:defRPr sz="2400"/>
            </a:lvl2pPr>
            <a:lvl3pPr>
              <a:buClr>
                <a:srgbClr val="72B1D4"/>
              </a:buClr>
              <a:defRPr sz="2400"/>
            </a:lvl3pPr>
            <a:lvl4pPr>
              <a:buClr>
                <a:srgbClr val="72B1D4"/>
              </a:buClr>
              <a:defRPr sz="2133"/>
            </a:lvl4pPr>
            <a:lvl5pPr>
              <a:buClr>
                <a:srgbClr val="72B1D4"/>
              </a:buCl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3" y="1535114"/>
            <a:ext cx="5389033" cy="639763"/>
          </a:xfrm>
        </p:spPr>
        <p:txBody>
          <a:bodyPr anchor="b">
            <a:normAutofit/>
          </a:bodyPr>
          <a:lstStyle>
            <a:lvl1pPr marL="0" indent="0">
              <a:buNone/>
              <a:defRPr sz="2400" b="1"/>
            </a:lvl1pPr>
            <a:lvl2pPr marL="609561" indent="0">
              <a:buNone/>
              <a:defRPr sz="2667" b="1"/>
            </a:lvl2pPr>
            <a:lvl3pPr marL="1219121" indent="0">
              <a:buNone/>
              <a:defRPr sz="2400" b="1"/>
            </a:lvl3pPr>
            <a:lvl4pPr marL="1828681" indent="0">
              <a:buNone/>
              <a:defRPr sz="2133" b="1"/>
            </a:lvl4pPr>
            <a:lvl5pPr marL="2438242" indent="0">
              <a:buNone/>
              <a:defRPr sz="2133" b="1"/>
            </a:lvl5pPr>
            <a:lvl6pPr marL="3047802" indent="0">
              <a:buNone/>
              <a:defRPr sz="2133" b="1"/>
            </a:lvl6pPr>
            <a:lvl7pPr marL="3657363" indent="0">
              <a:buNone/>
              <a:defRPr sz="2133" b="1"/>
            </a:lvl7pPr>
            <a:lvl8pPr marL="4266923" indent="0">
              <a:buNone/>
              <a:defRPr sz="2133" b="1"/>
            </a:lvl8pPr>
            <a:lvl9pPr marL="4876483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3" y="2174875"/>
            <a:ext cx="5389033" cy="3951288"/>
          </a:xfrm>
        </p:spPr>
        <p:txBody>
          <a:bodyPr/>
          <a:lstStyle>
            <a:lvl1pPr>
              <a:buClr>
                <a:srgbClr val="72B1D4"/>
              </a:buClr>
              <a:defRPr sz="2667"/>
            </a:lvl1pPr>
            <a:lvl2pPr>
              <a:buClr>
                <a:srgbClr val="72B1D4"/>
              </a:buClr>
              <a:defRPr sz="2400"/>
            </a:lvl2pPr>
            <a:lvl3pPr>
              <a:buClr>
                <a:srgbClr val="72B1D4"/>
              </a:buClr>
              <a:defRPr sz="2400"/>
            </a:lvl3pPr>
            <a:lvl4pPr>
              <a:buClr>
                <a:srgbClr val="72B1D4"/>
              </a:buClr>
              <a:defRPr sz="2133"/>
            </a:lvl4pPr>
            <a:lvl5pPr>
              <a:buClr>
                <a:srgbClr val="72B1D4"/>
              </a:buCl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BDE47-A11E-FE42-85BD-DB007C88386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273186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- Editable Footer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4A9A5E86-74C6-3146-980E-74DA551691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5" y="249554"/>
            <a:ext cx="11074396" cy="741042"/>
          </a:xfrm>
          <a:prstGeom prst="rect">
            <a:avLst/>
          </a:prstGeom>
        </p:spPr>
        <p:txBody>
          <a:bodyPr anchor="ctr" anchorCtr="0"/>
          <a:lstStyle>
            <a:lvl1pPr algn="l">
              <a:defRPr sz="2400" b="0">
                <a:solidFill>
                  <a:srgbClr val="173075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20E2BC7-E507-2748-BCF4-93394B86C150}"/>
              </a:ext>
            </a:extLst>
          </p:cNvPr>
          <p:cNvSpPr/>
          <p:nvPr userDrawn="1"/>
        </p:nvSpPr>
        <p:spPr>
          <a:xfrm>
            <a:off x="0" y="6706221"/>
            <a:ext cx="12192000" cy="151780"/>
          </a:xfrm>
          <a:prstGeom prst="rect">
            <a:avLst/>
          </a:prstGeom>
          <a:solidFill>
            <a:srgbClr val="17307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8F213C3-F179-CF48-B561-45DAECE06F29}"/>
              </a:ext>
            </a:extLst>
          </p:cNvPr>
          <p:cNvSpPr txBox="1"/>
          <p:nvPr userDrawn="1"/>
        </p:nvSpPr>
        <p:spPr>
          <a:xfrm>
            <a:off x="8786840" y="6715028"/>
            <a:ext cx="1950720" cy="142972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marL="0" marR="0" lvl="0" indent="0" algn="ctr" defTabSz="457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25" b="1" i="0" baseline="0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FIDENTIAL </a:t>
            </a:r>
            <a:r>
              <a:rPr lang="mr-IN" sz="525" b="1" i="0" baseline="0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</a:rPr>
              <a:t>–</a:t>
            </a:r>
            <a:r>
              <a:rPr lang="en-US" sz="525" b="1" i="0" baseline="0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Internal Use Only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5A4FEE3C-97D6-7A42-8E07-632EBFEC55FE}"/>
              </a:ext>
            </a:extLst>
          </p:cNvPr>
          <p:cNvSpPr txBox="1">
            <a:spLocks/>
          </p:cNvSpPr>
          <p:nvPr userDrawn="1"/>
        </p:nvSpPr>
        <p:spPr>
          <a:xfrm>
            <a:off x="211706" y="6413481"/>
            <a:ext cx="795791" cy="29243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7F7F7F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7A50C51-39D1-4540-97F5-99C459F216AC}" type="slidenum">
              <a:rPr lang="en-US" sz="1000" smtClean="0"/>
              <a:pPr/>
              <a:t>‹#›</a:t>
            </a:fld>
            <a:endParaRPr lang="en-US" sz="1000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C1B3452-C7F3-384B-97E7-82C8DD37DC2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11794" y="6467514"/>
            <a:ext cx="722439" cy="216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156649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620860" y="698305"/>
            <a:ext cx="8950281" cy="5170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33" b="0" i="0" u="heavy">
                <a:solidFill>
                  <a:srgbClr val="172F75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1"/>
            <a:ext cx="8534400" cy="4544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27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67" b="0" i="0">
                <a:solidFill>
                  <a:srgbClr val="0C1524"/>
                </a:solidFill>
                <a:latin typeface="Verdana"/>
                <a:cs typeface="Verdana"/>
              </a:defRPr>
            </a:lvl1pPr>
          </a:lstStyle>
          <a:p>
            <a:pPr marL="50799">
              <a:spcBef>
                <a:spcPts val="173"/>
              </a:spcBef>
            </a:pPr>
            <a:r>
              <a:rPr lang="en-GB" spc="13"/>
              <a:t>10</a:t>
            </a:r>
          </a:p>
          <a:p>
            <a:pPr marL="50799">
              <a:spcBef>
                <a:spcPts val="40"/>
              </a:spcBef>
            </a:pPr>
            <a:fld id="{81D60167-4931-47E6-BA6A-407CBD079E47}" type="slidenum">
              <a:rPr spc="20" smtClean="0"/>
              <a:pPr marL="50799">
                <a:spcBef>
                  <a:spcPts val="40"/>
                </a:spcBef>
              </a:pPr>
              <a:t>‹#›</a:t>
            </a:fld>
            <a:endParaRPr spc="20" dirty="0"/>
          </a:p>
        </p:txBody>
      </p:sp>
    </p:spTree>
    <p:extLst>
      <p:ext uri="{BB962C8B-B14F-4D97-AF65-F5344CB8AC3E}">
        <p14:creationId xmlns:p14="http://schemas.microsoft.com/office/powerpoint/2010/main" val="9567454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23;p31">
            <a:extLst>
              <a:ext uri="{FF2B5EF4-FFF2-40B4-BE49-F238E27FC236}">
                <a16:creationId xmlns:a16="http://schemas.microsoft.com/office/drawing/2014/main" id="{9846720A-EF1A-4442-9D11-1A669BD6447E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735542" y="1772708"/>
            <a:ext cx="5171017" cy="17737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25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83"/>
              </a:spcBef>
              <a:spcAft>
                <a:spcPts val="0"/>
              </a:spcAft>
              <a:buClr>
                <a:schemeClr val="accent2"/>
              </a:buClr>
              <a:buSzPts val="4600"/>
              <a:buFont typeface="Calibri"/>
              <a:buNone/>
              <a:defRPr sz="3833">
                <a:solidFill>
                  <a:schemeClr val="accent6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" name="Google Shape;24;p31">
            <a:extLst>
              <a:ext uri="{FF2B5EF4-FFF2-40B4-BE49-F238E27FC236}">
                <a16:creationId xmlns:a16="http://schemas.microsoft.com/office/drawing/2014/main" id="{AE6BE068-2B55-B240-8818-0C180809B7D5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765969" y="4794251"/>
            <a:ext cx="4605073" cy="4355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rgbClr val="A7A9AC"/>
              </a:buClr>
              <a:buSzPts val="2200"/>
              <a:buNone/>
              <a:defRPr sz="1833">
                <a:solidFill>
                  <a:schemeClr val="accent3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ctr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3200"/>
              <a:buNone/>
              <a:defRPr sz="2667"/>
            </a:lvl2pPr>
            <a:lvl3pPr lvl="2" algn="ctr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880"/>
              <a:buNone/>
              <a:defRPr sz="2400"/>
            </a:lvl3pPr>
            <a:lvl4pPr lvl="3" algn="ctr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560"/>
              <a:buNone/>
              <a:defRPr sz="2133"/>
            </a:lvl4pPr>
            <a:lvl5pPr lvl="4" algn="ctr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560"/>
              <a:buNone/>
              <a:defRPr sz="2133"/>
            </a:lvl5pPr>
            <a:lvl6pPr lvl="5" algn="ctr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560"/>
              <a:buNone/>
              <a:defRPr sz="2133"/>
            </a:lvl6pPr>
            <a:lvl7pPr lvl="6" algn="ctr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560"/>
              <a:buNone/>
              <a:defRPr sz="2133"/>
            </a:lvl7pPr>
            <a:lvl8pPr lvl="7" algn="ctr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560"/>
              <a:buNone/>
              <a:defRPr sz="2133"/>
            </a:lvl8pPr>
            <a:lvl9pPr lvl="8" algn="ctr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560"/>
              <a:buNone/>
              <a:defRPr sz="2133"/>
            </a:lvl9pPr>
          </a:lstStyle>
          <a:p>
            <a:endParaRPr/>
          </a:p>
        </p:txBody>
      </p:sp>
      <p:pic>
        <p:nvPicPr>
          <p:cNvPr id="5" name="Google Shape;26;p31">
            <a:extLst>
              <a:ext uri="{FF2B5EF4-FFF2-40B4-BE49-F238E27FC236}">
                <a16:creationId xmlns:a16="http://schemas.microsoft.com/office/drawing/2014/main" id="{D18B85CA-3076-B348-8905-18C3314D52C3}"/>
              </a:ext>
            </a:extLst>
          </p:cNvPr>
          <p:cNvPicPr preferRelativeResize="0"/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09833" y="0"/>
            <a:ext cx="5482167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Google Shape;27;p31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3F4CE2F9-2D54-7D48-804C-D78DEC142C86}"/>
              </a:ext>
            </a:extLst>
          </p:cNvPr>
          <p:cNvPicPr preferRelativeResize="0"/>
          <p:nvPr userDrawn="1"/>
        </p:nvPicPr>
        <p:blipFill rotWithShape="1">
          <a:blip r:embed="rId3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01197" y="5229839"/>
            <a:ext cx="3784349" cy="14478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2864812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733" b="0" i="0" u="heavy">
                <a:solidFill>
                  <a:srgbClr val="172F75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27/2023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67" b="0" i="0">
                <a:solidFill>
                  <a:srgbClr val="0C1524"/>
                </a:solidFill>
                <a:latin typeface="Verdana"/>
                <a:cs typeface="Verdana"/>
              </a:defRPr>
            </a:lvl1pPr>
          </a:lstStyle>
          <a:p>
            <a:pPr marL="50799">
              <a:spcBef>
                <a:spcPts val="173"/>
              </a:spcBef>
            </a:pPr>
            <a:r>
              <a:rPr lang="en-GB" spc="13"/>
              <a:t>10</a:t>
            </a:r>
          </a:p>
          <a:p>
            <a:pPr marL="50799">
              <a:spcBef>
                <a:spcPts val="40"/>
              </a:spcBef>
            </a:pPr>
            <a:fld id="{81D60167-4931-47E6-BA6A-407CBD079E47}" type="slidenum">
              <a:rPr spc="20" smtClean="0"/>
              <a:pPr marL="50799">
                <a:spcBef>
                  <a:spcPts val="40"/>
                </a:spcBef>
              </a:pPr>
              <a:t>‹#›</a:t>
            </a:fld>
            <a:endParaRPr spc="20" dirty="0"/>
          </a:p>
        </p:txBody>
      </p:sp>
    </p:spTree>
    <p:extLst>
      <p:ext uri="{BB962C8B-B14F-4D97-AF65-F5344CB8AC3E}">
        <p14:creationId xmlns:p14="http://schemas.microsoft.com/office/powerpoint/2010/main" val="267053501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27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67" b="0" i="0">
                <a:solidFill>
                  <a:srgbClr val="0C1524"/>
                </a:solidFill>
                <a:latin typeface="Verdana"/>
                <a:cs typeface="Verdana"/>
              </a:defRPr>
            </a:lvl1pPr>
          </a:lstStyle>
          <a:p>
            <a:pPr marL="50799">
              <a:spcBef>
                <a:spcPts val="173"/>
              </a:spcBef>
            </a:pPr>
            <a:r>
              <a:rPr lang="en-GB" spc="13"/>
              <a:t>10</a:t>
            </a:r>
          </a:p>
          <a:p>
            <a:pPr marL="50799">
              <a:spcBef>
                <a:spcPts val="40"/>
              </a:spcBef>
            </a:pPr>
            <a:fld id="{81D60167-4931-47E6-BA6A-407CBD079E47}" type="slidenum">
              <a:rPr spc="20" smtClean="0"/>
              <a:pPr marL="50799">
                <a:spcBef>
                  <a:spcPts val="40"/>
                </a:spcBef>
              </a:pPr>
              <a:t>‹#›</a:t>
            </a:fld>
            <a:endParaRPr spc="20" dirty="0"/>
          </a:p>
        </p:txBody>
      </p:sp>
    </p:spTree>
    <p:extLst>
      <p:ext uri="{BB962C8B-B14F-4D97-AF65-F5344CB8AC3E}">
        <p14:creationId xmlns:p14="http://schemas.microsoft.com/office/powerpoint/2010/main" val="94356020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733" b="0" i="0" u="heavy">
                <a:solidFill>
                  <a:srgbClr val="172F75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800" b="0" i="0">
                <a:solidFill>
                  <a:srgbClr val="0C1524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27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67" b="0" i="0">
                <a:solidFill>
                  <a:srgbClr val="0C1524"/>
                </a:solidFill>
                <a:latin typeface="Verdana"/>
                <a:cs typeface="Verdana"/>
              </a:defRPr>
            </a:lvl1pPr>
          </a:lstStyle>
          <a:p>
            <a:pPr marL="50799">
              <a:spcBef>
                <a:spcPts val="173"/>
              </a:spcBef>
            </a:pPr>
            <a:r>
              <a:rPr lang="en-GB" spc="13"/>
              <a:t>10</a:t>
            </a:r>
          </a:p>
          <a:p>
            <a:pPr marL="50799">
              <a:spcBef>
                <a:spcPts val="40"/>
              </a:spcBef>
            </a:pPr>
            <a:fld id="{81D60167-4931-47E6-BA6A-407CBD079E47}" type="slidenum">
              <a:rPr spc="20" smtClean="0"/>
              <a:pPr marL="50799">
                <a:spcBef>
                  <a:spcPts val="40"/>
                </a:spcBef>
              </a:pPr>
              <a:t>‹#›</a:t>
            </a:fld>
            <a:endParaRPr spc="20" dirty="0"/>
          </a:p>
        </p:txBody>
      </p:sp>
    </p:spTree>
    <p:extLst>
      <p:ext uri="{BB962C8B-B14F-4D97-AF65-F5344CB8AC3E}">
        <p14:creationId xmlns:p14="http://schemas.microsoft.com/office/powerpoint/2010/main" val="82743976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2213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2" name="Picture 11" descr="VYM_whisp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394"/>
          <a:stretch/>
        </p:blipFill>
        <p:spPr>
          <a:xfrm>
            <a:off x="0" y="7871"/>
            <a:ext cx="12192000" cy="4293503"/>
          </a:xfrm>
          <a:prstGeom prst="rect">
            <a:avLst/>
          </a:prstGeom>
        </p:spPr>
      </p:pic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609600" y="4301373"/>
            <a:ext cx="8969933" cy="5246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2400">
                <a:solidFill>
                  <a:srgbClr val="6FB7D7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09601" y="4775201"/>
            <a:ext cx="10985500" cy="436880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latin typeface="Arial"/>
                <a:cs typeface="Arial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1094" y="1532081"/>
            <a:ext cx="4407628" cy="869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338604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2213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2" name="Picture 11" descr="VYM_whisp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394"/>
          <a:stretch/>
        </p:blipFill>
        <p:spPr>
          <a:xfrm>
            <a:off x="0" y="7871"/>
            <a:ext cx="12192000" cy="4293503"/>
          </a:xfrm>
          <a:prstGeom prst="rect">
            <a:avLst/>
          </a:prstGeom>
        </p:spPr>
      </p:pic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609600" y="4301373"/>
            <a:ext cx="8969933" cy="5246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2400">
                <a:solidFill>
                  <a:srgbClr val="6FB7D7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09601" y="4775201"/>
            <a:ext cx="10985500" cy="436880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latin typeface="Arial"/>
                <a:cs typeface="Arial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1094" y="1532081"/>
            <a:ext cx="4407628" cy="869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585816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2213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2" name="Picture 11" descr="VYM_whisp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394"/>
          <a:stretch/>
        </p:blipFill>
        <p:spPr>
          <a:xfrm>
            <a:off x="0" y="7871"/>
            <a:ext cx="12192000" cy="4293503"/>
          </a:xfrm>
          <a:prstGeom prst="rect">
            <a:avLst/>
          </a:prstGeom>
        </p:spPr>
      </p:pic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609600" y="4301373"/>
            <a:ext cx="8969933" cy="5246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2400">
                <a:solidFill>
                  <a:srgbClr val="6FB7D7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09601" y="4775201"/>
            <a:ext cx="10985500" cy="436880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latin typeface="Arial"/>
                <a:cs typeface="Arial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1094" y="1532081"/>
            <a:ext cx="4407628" cy="869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397856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733" b="0" i="0" u="heavy">
                <a:solidFill>
                  <a:srgbClr val="172F75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714587" y="1544998"/>
            <a:ext cx="4106333" cy="61138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933" b="0" i="0">
                <a:solidFill>
                  <a:srgbClr val="517AC6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44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27/2023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67" b="0" i="0">
                <a:solidFill>
                  <a:srgbClr val="0C1524"/>
                </a:solidFill>
                <a:latin typeface="Verdana"/>
                <a:cs typeface="Verdana"/>
              </a:defRPr>
            </a:lvl1pPr>
          </a:lstStyle>
          <a:p>
            <a:pPr marL="50799">
              <a:spcBef>
                <a:spcPts val="173"/>
              </a:spcBef>
            </a:pPr>
            <a:r>
              <a:rPr lang="en-GB" spc="13"/>
              <a:t>10</a:t>
            </a:r>
          </a:p>
          <a:p>
            <a:pPr marL="50799">
              <a:spcBef>
                <a:spcPts val="40"/>
              </a:spcBef>
            </a:pPr>
            <a:fld id="{81D60167-4931-47E6-BA6A-407CBD079E47}" type="slidenum">
              <a:rPr spc="20" smtClean="0"/>
              <a:pPr marL="50799">
                <a:spcBef>
                  <a:spcPts val="40"/>
                </a:spcBef>
              </a:pPr>
              <a:t>‹#›</a:t>
            </a:fld>
            <a:endParaRPr spc="20" dirty="0"/>
          </a:p>
        </p:txBody>
      </p:sp>
    </p:spTree>
    <p:extLst>
      <p:ext uri="{BB962C8B-B14F-4D97-AF65-F5344CB8AC3E}">
        <p14:creationId xmlns:p14="http://schemas.microsoft.com/office/powerpoint/2010/main" val="359848007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2213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2" name="Picture 11" descr="VYM_whisp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394"/>
          <a:stretch/>
        </p:blipFill>
        <p:spPr>
          <a:xfrm>
            <a:off x="0" y="7871"/>
            <a:ext cx="12192000" cy="4293503"/>
          </a:xfrm>
          <a:prstGeom prst="rect">
            <a:avLst/>
          </a:prstGeom>
        </p:spPr>
      </p:pic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609600" y="4301374"/>
            <a:ext cx="8969933" cy="5246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2400">
                <a:solidFill>
                  <a:srgbClr val="6FB7D7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09599" y="4775201"/>
            <a:ext cx="10985500" cy="436880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latin typeface="Arial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1093" y="1532080"/>
            <a:ext cx="4407628" cy="869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834131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2213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2" name="Picture 11" descr="VYM_whisp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394"/>
          <a:stretch/>
        </p:blipFill>
        <p:spPr>
          <a:xfrm>
            <a:off x="0" y="7871"/>
            <a:ext cx="12192000" cy="4293503"/>
          </a:xfrm>
          <a:prstGeom prst="rect">
            <a:avLst/>
          </a:prstGeom>
        </p:spPr>
      </p:pic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609600" y="4301374"/>
            <a:ext cx="8969933" cy="5246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2400">
                <a:solidFill>
                  <a:srgbClr val="6FB7D7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09599" y="4775201"/>
            <a:ext cx="10985500" cy="436880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latin typeface="Arial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1093" y="1532080"/>
            <a:ext cx="4407628" cy="869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906349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2213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2" name="Picture 11" descr="VYM_whisp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394"/>
          <a:stretch/>
        </p:blipFill>
        <p:spPr>
          <a:xfrm>
            <a:off x="0" y="7871"/>
            <a:ext cx="12192000" cy="4293503"/>
          </a:xfrm>
          <a:prstGeom prst="rect">
            <a:avLst/>
          </a:prstGeom>
        </p:spPr>
      </p:pic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609600" y="4301374"/>
            <a:ext cx="8969933" cy="5246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2400">
                <a:solidFill>
                  <a:srgbClr val="6FB7D7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09599" y="4775201"/>
            <a:ext cx="10985500" cy="436880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latin typeface="Arial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1093" y="1532080"/>
            <a:ext cx="4407628" cy="869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83950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oogle Shape;48;p35" descr="A picture containing logo&#10;&#10;Description automatically generated">
            <a:extLst>
              <a:ext uri="{FF2B5EF4-FFF2-40B4-BE49-F238E27FC236}">
                <a16:creationId xmlns:a16="http://schemas.microsoft.com/office/drawing/2014/main" id="{AB98630A-F9AC-2B4B-A77A-2E86E1D9E36B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Google Shape;49;p35">
            <a:extLst>
              <a:ext uri="{FF2B5EF4-FFF2-40B4-BE49-F238E27FC236}">
                <a16:creationId xmlns:a16="http://schemas.microsoft.com/office/drawing/2014/main" id="{C6C7B402-A2A6-7549-9B89-3CCDB9F84B33}"/>
              </a:ext>
            </a:extLst>
          </p:cNvPr>
          <p:cNvSpPr/>
          <p:nvPr userDrawn="1"/>
        </p:nvSpPr>
        <p:spPr>
          <a:xfrm>
            <a:off x="-22260" y="0"/>
            <a:ext cx="12192000" cy="6858000"/>
          </a:xfrm>
          <a:prstGeom prst="rect">
            <a:avLst/>
          </a:prstGeom>
          <a:solidFill>
            <a:srgbClr val="151132">
              <a:alpha val="49411"/>
            </a:srgbClr>
          </a:solidFill>
          <a:ln>
            <a:noFill/>
          </a:ln>
        </p:spPr>
        <p:txBody>
          <a:bodyPr spcFirstLastPara="1" wrap="square" lIns="76188" tIns="38083" rIns="76188" bIns="3808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987"/>
              <a:buFont typeface="Arial"/>
              <a:buNone/>
            </a:pPr>
            <a:endParaRPr sz="2489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" name="Google Shape;50;p35">
            <a:extLst>
              <a:ext uri="{FF2B5EF4-FFF2-40B4-BE49-F238E27FC236}">
                <a16:creationId xmlns:a16="http://schemas.microsoft.com/office/drawing/2014/main" id="{EDDC9575-0819-DF4E-B57A-1E272B0C248D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406029" y="2529947"/>
            <a:ext cx="5211763" cy="17737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600"/>
              <a:buFont typeface="Calibri"/>
              <a:buNone/>
              <a:defRPr sz="3833" i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" name="Google Shape;51;p35">
            <a:extLst>
              <a:ext uri="{FF2B5EF4-FFF2-40B4-BE49-F238E27FC236}">
                <a16:creationId xmlns:a16="http://schemas.microsoft.com/office/drawing/2014/main" id="{5B29167E-AAAD-8447-84B4-7EA602E5DE0B}"/>
              </a:ext>
            </a:extLst>
          </p:cNvPr>
          <p:cNvSpPr txBox="1"/>
          <p:nvPr userDrawn="1"/>
        </p:nvSpPr>
        <p:spPr>
          <a:xfrm>
            <a:off x="345648" y="6387044"/>
            <a:ext cx="6886046" cy="117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833" b="0" i="0" u="none" strike="noStrike" cap="none" dirty="0">
                <a:solidFill>
                  <a:srgbClr val="A7A9AC"/>
                </a:solidFill>
                <a:latin typeface="Calibri"/>
                <a:ea typeface="Calibri"/>
                <a:cs typeface="Calibri"/>
                <a:sym typeface="Calibri"/>
              </a:rPr>
              <a:t>© 2021 Vyaire. Vyaire and the Vyaire logo are trademarks or registered trademarks of Vyaire Medical, Inc., or one of its affiliates.</a:t>
            </a:r>
            <a:endParaRPr sz="1500" dirty="0"/>
          </a:p>
        </p:txBody>
      </p:sp>
    </p:spTree>
    <p:extLst>
      <p:ext uri="{BB962C8B-B14F-4D97-AF65-F5344CB8AC3E}">
        <p14:creationId xmlns:p14="http://schemas.microsoft.com/office/powerpoint/2010/main" val="127720260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2213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2" name="Picture 11" descr="VYM_whisp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394"/>
          <a:stretch/>
        </p:blipFill>
        <p:spPr>
          <a:xfrm>
            <a:off x="0" y="7871"/>
            <a:ext cx="12192000" cy="4293503"/>
          </a:xfrm>
          <a:prstGeom prst="rect">
            <a:avLst/>
          </a:prstGeom>
        </p:spPr>
      </p:pic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609600" y="4301374"/>
            <a:ext cx="8969933" cy="5246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2400">
                <a:solidFill>
                  <a:srgbClr val="6FB7D7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09599" y="4775201"/>
            <a:ext cx="10985500" cy="436880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latin typeface="Arial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1093" y="1532080"/>
            <a:ext cx="4407628" cy="869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84586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2213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2" name="Picture 11" descr="VYM_whisp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394"/>
          <a:stretch/>
        </p:blipFill>
        <p:spPr>
          <a:xfrm>
            <a:off x="0" y="7871"/>
            <a:ext cx="12192000" cy="4293503"/>
          </a:xfrm>
          <a:prstGeom prst="rect">
            <a:avLst/>
          </a:prstGeom>
        </p:spPr>
      </p:pic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609600" y="4301374"/>
            <a:ext cx="8969933" cy="5246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2400">
                <a:solidFill>
                  <a:srgbClr val="6FB7D7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09599" y="4775201"/>
            <a:ext cx="10985500" cy="436880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latin typeface="Arial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1093" y="1532080"/>
            <a:ext cx="4407628" cy="869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933422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2213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2" name="Picture 11" descr="VYM_whisp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394"/>
          <a:stretch/>
        </p:blipFill>
        <p:spPr>
          <a:xfrm>
            <a:off x="0" y="7871"/>
            <a:ext cx="12192000" cy="4293503"/>
          </a:xfrm>
          <a:prstGeom prst="rect">
            <a:avLst/>
          </a:prstGeom>
        </p:spPr>
      </p:pic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609600" y="4301374"/>
            <a:ext cx="8969933" cy="5246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2400">
                <a:solidFill>
                  <a:srgbClr val="6FB7D7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09599" y="4775201"/>
            <a:ext cx="10985500" cy="436880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latin typeface="Arial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1093" y="1532080"/>
            <a:ext cx="4407628" cy="869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58191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2213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12" name="Picture 11" descr="VYM_whisp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394"/>
          <a:stretch/>
        </p:blipFill>
        <p:spPr>
          <a:xfrm>
            <a:off x="0" y="7870"/>
            <a:ext cx="12192000" cy="4293503"/>
          </a:xfrm>
          <a:prstGeom prst="rect">
            <a:avLst/>
          </a:prstGeom>
        </p:spPr>
      </p:pic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609600" y="4301373"/>
            <a:ext cx="8969933" cy="6222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200">
                <a:solidFill>
                  <a:srgbClr val="6FB7D7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08276" y="4978653"/>
            <a:ext cx="8985241" cy="568803"/>
          </a:xfrm>
        </p:spPr>
        <p:txBody>
          <a:bodyPr/>
          <a:lstStyle>
            <a:lvl1pPr marL="0" indent="0">
              <a:buFont typeface="Arial"/>
              <a:buNone/>
              <a:defRPr sz="2400"/>
            </a:lvl1pPr>
            <a:lvl2pPr marL="609585" indent="0">
              <a:buNone/>
              <a:defRPr sz="2400"/>
            </a:lvl2pPr>
            <a:lvl3pPr marL="1219170" indent="0">
              <a:buNone/>
              <a:defRPr sz="2400"/>
            </a:lvl3pPr>
            <a:lvl4pPr marL="1828754" indent="0">
              <a:buNone/>
              <a:defRPr sz="2400"/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5827" y="1538516"/>
            <a:ext cx="4476716" cy="1178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646300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2213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12" name="Picture 11" descr="VYM_whisp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394"/>
          <a:stretch/>
        </p:blipFill>
        <p:spPr>
          <a:xfrm>
            <a:off x="0" y="7870"/>
            <a:ext cx="12192000" cy="4293503"/>
          </a:xfrm>
          <a:prstGeom prst="rect">
            <a:avLst/>
          </a:prstGeom>
        </p:spPr>
      </p:pic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609600" y="4301373"/>
            <a:ext cx="8969933" cy="6222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200">
                <a:solidFill>
                  <a:srgbClr val="6FB7D7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08276" y="4978653"/>
            <a:ext cx="8985241" cy="568803"/>
          </a:xfrm>
        </p:spPr>
        <p:txBody>
          <a:bodyPr/>
          <a:lstStyle>
            <a:lvl1pPr marL="0" indent="0">
              <a:buFont typeface="Arial"/>
              <a:buNone/>
              <a:defRPr sz="2400"/>
            </a:lvl1pPr>
            <a:lvl2pPr marL="609585" indent="0">
              <a:buNone/>
              <a:defRPr sz="2400"/>
            </a:lvl2pPr>
            <a:lvl3pPr marL="1219170" indent="0">
              <a:buNone/>
              <a:defRPr sz="2400"/>
            </a:lvl3pPr>
            <a:lvl4pPr marL="1828754" indent="0">
              <a:buNone/>
              <a:defRPr sz="2400"/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5827" y="1538516"/>
            <a:ext cx="4476716" cy="1178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64278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2213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12" name="Picture 11" descr="VYM_whisp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394"/>
          <a:stretch/>
        </p:blipFill>
        <p:spPr>
          <a:xfrm>
            <a:off x="0" y="7870"/>
            <a:ext cx="12192000" cy="4293503"/>
          </a:xfrm>
          <a:prstGeom prst="rect">
            <a:avLst/>
          </a:prstGeom>
        </p:spPr>
      </p:pic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609600" y="4301373"/>
            <a:ext cx="8969933" cy="6222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200">
                <a:solidFill>
                  <a:srgbClr val="6FB7D7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08276" y="4978653"/>
            <a:ext cx="8985241" cy="568803"/>
          </a:xfrm>
        </p:spPr>
        <p:txBody>
          <a:bodyPr/>
          <a:lstStyle>
            <a:lvl1pPr marL="0" indent="0">
              <a:buFont typeface="Arial"/>
              <a:buNone/>
              <a:defRPr sz="2400"/>
            </a:lvl1pPr>
            <a:lvl2pPr marL="609585" indent="0">
              <a:buNone/>
              <a:defRPr sz="2400"/>
            </a:lvl2pPr>
            <a:lvl3pPr marL="1219170" indent="0">
              <a:buNone/>
              <a:defRPr sz="2400"/>
            </a:lvl3pPr>
            <a:lvl4pPr marL="1828754" indent="0">
              <a:buNone/>
              <a:defRPr sz="2400"/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5827" y="1538516"/>
            <a:ext cx="4476716" cy="1178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376103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balt Blue Title Slide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516C78A-9419-D44F-83AA-F1BA914280D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56766" y="6322033"/>
            <a:ext cx="2742406" cy="365125"/>
          </a:xfrm>
          <a:prstGeom prst="rect">
            <a:avLst/>
          </a:prstGeom>
        </p:spPr>
        <p:txBody>
          <a:bodyPr/>
          <a:lstStyle/>
          <a:p>
            <a:fld id="{D888F868-255D-B747-B6D4-EC545A4D9D0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Google Shape;16;p6" descr="A picture containing icon&#10;&#10;Description automatically generated">
            <a:extLst>
              <a:ext uri="{FF2B5EF4-FFF2-40B4-BE49-F238E27FC236}">
                <a16:creationId xmlns:a16="http://schemas.microsoft.com/office/drawing/2014/main" id="{849C5447-DE3D-BA42-804F-6A7D87909644}"/>
              </a:ext>
            </a:extLst>
          </p:cNvPr>
          <p:cNvPicPr preferRelativeResize="0"/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Google Shape;17;p6">
            <a:extLst>
              <a:ext uri="{FF2B5EF4-FFF2-40B4-BE49-F238E27FC236}">
                <a16:creationId xmlns:a16="http://schemas.microsoft.com/office/drawing/2014/main" id="{C5A7BD0F-8C5D-184B-9437-DE6143D88BB9}"/>
              </a:ext>
            </a:extLst>
          </p:cNvPr>
          <p:cNvPicPr preferRelativeResize="0"/>
          <p:nvPr userDrawn="1"/>
        </p:nvPicPr>
        <p:blipFill rotWithShape="1"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5542" y="740834"/>
            <a:ext cx="3540125" cy="775918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Google Shape;18;p6">
            <a:extLst>
              <a:ext uri="{FF2B5EF4-FFF2-40B4-BE49-F238E27FC236}">
                <a16:creationId xmlns:a16="http://schemas.microsoft.com/office/drawing/2014/main" id="{300C8635-8DFD-1844-A5C2-38CD5427B3B3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735542" y="2178129"/>
            <a:ext cx="5171017" cy="17737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25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83"/>
              </a:spcBef>
              <a:spcAft>
                <a:spcPts val="0"/>
              </a:spcAft>
              <a:buClr>
                <a:schemeClr val="accent2"/>
              </a:buClr>
              <a:buSzPts val="4600"/>
              <a:buFont typeface="Calibri"/>
              <a:buNone/>
              <a:defRPr sz="3833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" name="Google Shape;19;p6">
            <a:extLst>
              <a:ext uri="{FF2B5EF4-FFF2-40B4-BE49-F238E27FC236}">
                <a16:creationId xmlns:a16="http://schemas.microsoft.com/office/drawing/2014/main" id="{199AAA79-978E-B446-A99A-4ACC39530194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765969" y="4794251"/>
            <a:ext cx="4605073" cy="4355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rgbClr val="A7A9AC"/>
              </a:buClr>
              <a:buSzPts val="2200"/>
              <a:buNone/>
              <a:defRPr sz="1833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ctr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3200"/>
              <a:buNone/>
              <a:defRPr sz="2667"/>
            </a:lvl2pPr>
            <a:lvl3pPr lvl="2" algn="ctr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880"/>
              <a:buNone/>
              <a:defRPr sz="2400"/>
            </a:lvl3pPr>
            <a:lvl4pPr lvl="3" algn="ctr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560"/>
              <a:buNone/>
              <a:defRPr sz="2133"/>
            </a:lvl4pPr>
            <a:lvl5pPr lvl="4" algn="ctr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560"/>
              <a:buNone/>
              <a:defRPr sz="2133"/>
            </a:lvl5pPr>
            <a:lvl6pPr lvl="5" algn="ctr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560"/>
              <a:buNone/>
              <a:defRPr sz="2133"/>
            </a:lvl6pPr>
            <a:lvl7pPr lvl="6" algn="ctr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560"/>
              <a:buNone/>
              <a:defRPr sz="2133"/>
            </a:lvl7pPr>
            <a:lvl8pPr lvl="7" algn="ctr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560"/>
              <a:buNone/>
              <a:defRPr sz="2133"/>
            </a:lvl8pPr>
            <a:lvl9pPr lvl="8" algn="ctr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560"/>
              <a:buNone/>
              <a:defRPr sz="2133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828428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BALT BLU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icon&#10;&#10;Description automatically generated">
            <a:extLst>
              <a:ext uri="{FF2B5EF4-FFF2-40B4-BE49-F238E27FC236}">
                <a16:creationId xmlns:a16="http://schemas.microsoft.com/office/drawing/2014/main" id="{3F6ED189-9DC6-7345-AE74-30EA735575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Google Shape;55;p36">
            <a:extLst>
              <a:ext uri="{FF2B5EF4-FFF2-40B4-BE49-F238E27FC236}">
                <a16:creationId xmlns:a16="http://schemas.microsoft.com/office/drawing/2014/main" id="{775487F3-B002-674B-B7C3-C97D70056A0F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735543" y="2529945"/>
            <a:ext cx="5211763" cy="17737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600"/>
              <a:buFont typeface="Calibri"/>
              <a:buNone/>
              <a:defRPr sz="3833" i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" name="Google Shape;56;p36">
            <a:extLst>
              <a:ext uri="{FF2B5EF4-FFF2-40B4-BE49-F238E27FC236}">
                <a16:creationId xmlns:a16="http://schemas.microsoft.com/office/drawing/2014/main" id="{16BAFF6F-A2C7-7047-BF12-FF382D8E4669}"/>
              </a:ext>
            </a:extLst>
          </p:cNvPr>
          <p:cNvSpPr txBox="1"/>
          <p:nvPr userDrawn="1"/>
        </p:nvSpPr>
        <p:spPr>
          <a:xfrm>
            <a:off x="306455" y="6387042"/>
            <a:ext cx="6886046" cy="117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833" b="0" i="0" u="none" strike="noStrike" cap="none">
                <a:solidFill>
                  <a:srgbClr val="A7A9AC"/>
                </a:solidFill>
                <a:latin typeface="Calibri"/>
                <a:ea typeface="Calibri"/>
                <a:cs typeface="Calibri"/>
                <a:sym typeface="Calibri"/>
              </a:rPr>
              <a:t>© 2021 Vyaire. Vyaire and the Vyaire logo are trademarks or registered trademarks of Vyaire Medical, Inc., or one of its affiliates.</a:t>
            </a:r>
            <a:endParaRPr sz="1500"/>
          </a:p>
        </p:txBody>
      </p:sp>
    </p:spTree>
    <p:extLst>
      <p:ext uri="{BB962C8B-B14F-4D97-AF65-F5344CB8AC3E}">
        <p14:creationId xmlns:p14="http://schemas.microsoft.com/office/powerpoint/2010/main" val="41643204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tal Few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72;p35">
            <a:extLst>
              <a:ext uri="{FF2B5EF4-FFF2-40B4-BE49-F238E27FC236}">
                <a16:creationId xmlns:a16="http://schemas.microsoft.com/office/drawing/2014/main" id="{A201D4F2-B543-D644-B240-CB3CAEC9103D}"/>
              </a:ext>
            </a:extLst>
          </p:cNvPr>
          <p:cNvSpPr/>
          <p:nvPr userDrawn="1"/>
        </p:nvSpPr>
        <p:spPr>
          <a:xfrm>
            <a:off x="0" y="0"/>
            <a:ext cx="6886045" cy="6858000"/>
          </a:xfrm>
          <a:prstGeom prst="rect">
            <a:avLst/>
          </a:prstGeom>
          <a:solidFill>
            <a:srgbClr val="151132">
              <a:alpha val="48627"/>
            </a:srgbClr>
          </a:solidFill>
          <a:ln>
            <a:noFill/>
          </a:ln>
        </p:spPr>
        <p:txBody>
          <a:bodyPr spcFirstLastPara="1" wrap="square" lIns="76188" tIns="38083" rIns="76188" bIns="3808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987"/>
              <a:buFont typeface="Arial"/>
              <a:buNone/>
            </a:pPr>
            <a:endParaRPr sz="2489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" name="Google Shape;71;p35" descr="A picture containing logo&#10;&#10;Description automatically generated">
            <a:extLst>
              <a:ext uri="{FF2B5EF4-FFF2-40B4-BE49-F238E27FC236}">
                <a16:creationId xmlns:a16="http://schemas.microsoft.com/office/drawing/2014/main" id="{6F4A9F9A-3A3B-474C-B670-15C8470A09B6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 l="49053" r="-1"/>
          <a:stretch/>
        </p:blipFill>
        <p:spPr>
          <a:xfrm>
            <a:off x="-15239" y="0"/>
            <a:ext cx="6449954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546F98D7-0367-9F4D-97F9-ABCCD7F6C819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/>
          </a:p>
        </p:txBody>
      </p:sp>
      <p:sp>
        <p:nvSpPr>
          <p:cNvPr id="6" name="Google Shape;74;p35">
            <a:extLst>
              <a:ext uri="{FF2B5EF4-FFF2-40B4-BE49-F238E27FC236}">
                <a16:creationId xmlns:a16="http://schemas.microsoft.com/office/drawing/2014/main" id="{3E679EE9-3116-5E4F-8F27-1E9941200BFA}"/>
              </a:ext>
            </a:extLst>
          </p:cNvPr>
          <p:cNvSpPr txBox="1"/>
          <p:nvPr userDrawn="1"/>
        </p:nvSpPr>
        <p:spPr>
          <a:xfrm>
            <a:off x="306455" y="6387042"/>
            <a:ext cx="6886046" cy="117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833" b="0" i="0" u="none" strike="noStrike" cap="none" dirty="0">
                <a:solidFill>
                  <a:srgbClr val="A7A9AC"/>
                </a:solidFill>
                <a:latin typeface="Calibri"/>
                <a:ea typeface="Calibri"/>
                <a:cs typeface="Calibri"/>
                <a:sym typeface="Calibri"/>
              </a:rPr>
              <a:t>© 2021 Vyaire. Vyaire and the Vyaire logo are trademarks or registered trademarks of Vyaire Medical, Inc., or one of its affiliates.</a:t>
            </a:r>
            <a:endParaRPr sz="1167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7" name="Google Shape;75;p35">
            <a:extLst>
              <a:ext uri="{FF2B5EF4-FFF2-40B4-BE49-F238E27FC236}">
                <a16:creationId xmlns:a16="http://schemas.microsoft.com/office/drawing/2014/main" id="{F543CA8F-0A4E-1D43-BB38-C459BE8E37A2}"/>
              </a:ext>
            </a:extLst>
          </p:cNvPr>
          <p:cNvPicPr preferRelativeResize="0"/>
          <p:nvPr userDrawn="1"/>
        </p:nvPicPr>
        <p:blipFill rotWithShape="1">
          <a:blip r:embed="rId3">
            <a:alphaModFix/>
          </a:blip>
          <a:srcRect/>
          <a:stretch/>
        </p:blipFill>
        <p:spPr>
          <a:xfrm>
            <a:off x="10283189" y="6132761"/>
            <a:ext cx="1528252" cy="334959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Google Shape;18;p56">
            <a:extLst>
              <a:ext uri="{FF2B5EF4-FFF2-40B4-BE49-F238E27FC236}">
                <a16:creationId xmlns:a16="http://schemas.microsoft.com/office/drawing/2014/main" id="{00670FD1-8EF4-B445-88B8-2830AA428C69}"/>
              </a:ext>
            </a:extLst>
          </p:cNvPr>
          <p:cNvPicPr preferRelativeResize="0"/>
          <p:nvPr userDrawn="1"/>
        </p:nvPicPr>
        <p:blipFill rotWithShape="1">
          <a:blip r:embed="rId4">
            <a:alphaModFix/>
          </a:blip>
          <a:srcRect/>
          <a:stretch/>
        </p:blipFill>
        <p:spPr>
          <a:xfrm>
            <a:off x="10283189" y="6142273"/>
            <a:ext cx="1528252" cy="337269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Google Shape;237;gbcc0acec0d_0_429">
            <a:extLst>
              <a:ext uri="{FF2B5EF4-FFF2-40B4-BE49-F238E27FC236}">
                <a16:creationId xmlns:a16="http://schemas.microsoft.com/office/drawing/2014/main" id="{D40C7459-EBA5-B444-B42F-9F92D2BA509B}"/>
              </a:ext>
            </a:extLst>
          </p:cNvPr>
          <p:cNvSpPr txBox="1">
            <a:spLocks/>
          </p:cNvSpPr>
          <p:nvPr userDrawn="1"/>
        </p:nvSpPr>
        <p:spPr>
          <a:xfrm>
            <a:off x="471250" y="1855804"/>
            <a:ext cx="4522346" cy="13956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0583" rIns="0" bIns="0" anchor="b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A0029"/>
              </a:buClr>
              <a:buSzPts val="3600"/>
              <a:buFont typeface="Calibri"/>
              <a:buNone/>
              <a:defRPr sz="3600" b="1" i="0" u="none" strike="noStrike" cap="none">
                <a:solidFill>
                  <a:srgbClr val="EA0029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76197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A0029"/>
              </a:buClr>
              <a:buSzPts val="3600"/>
              <a:buFont typeface="Calibri"/>
              <a:buNone/>
              <a:tabLst/>
              <a:defRPr/>
            </a:pPr>
            <a:r>
              <a:rPr kumimoji="0" lang="en-US" sz="5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t>FY21 Vital </a:t>
            </a:r>
            <a:br>
              <a:rPr kumimoji="0" lang="en-US" sz="5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</a:br>
            <a:r>
              <a:rPr kumimoji="0" lang="en-US" sz="5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t>Few Objectives</a:t>
            </a:r>
            <a:endParaRPr kumimoji="0" lang="en-US" sz="55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10" name="Google Shape;237;gbcc0acec0d_0_429">
            <a:extLst>
              <a:ext uri="{FF2B5EF4-FFF2-40B4-BE49-F238E27FC236}">
                <a16:creationId xmlns:a16="http://schemas.microsoft.com/office/drawing/2014/main" id="{4CCD1887-04C5-BF43-BDB5-25B4E94E22C2}"/>
              </a:ext>
            </a:extLst>
          </p:cNvPr>
          <p:cNvSpPr txBox="1">
            <a:spLocks/>
          </p:cNvSpPr>
          <p:nvPr userDrawn="1"/>
        </p:nvSpPr>
        <p:spPr>
          <a:xfrm>
            <a:off x="471250" y="3606708"/>
            <a:ext cx="4265180" cy="9799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0583" rIns="0" bIns="0" anchor="b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A0029"/>
              </a:buClr>
              <a:buSzPts val="3600"/>
              <a:buFont typeface="Calibri"/>
              <a:buNone/>
              <a:defRPr sz="3600" b="1" i="0" u="none" strike="noStrike" cap="none">
                <a:solidFill>
                  <a:srgbClr val="EA0029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76197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A0029"/>
              </a:buClr>
              <a:buSzPts val="3600"/>
              <a:buFont typeface="Calibri"/>
              <a:buNone/>
              <a:tabLst/>
              <a:defRPr/>
            </a:pPr>
            <a:r>
              <a:rPr kumimoji="0" lang="en-US" sz="2333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t>Execute our transformation and innovation initiatives to deliver FY22 $100M run rate savings</a:t>
            </a:r>
          </a:p>
        </p:txBody>
      </p:sp>
      <p:pic>
        <p:nvPicPr>
          <p:cNvPr id="19" name="Picture 18" descr="Shape, circle&#10;&#10;Description automatically generated">
            <a:extLst>
              <a:ext uri="{FF2B5EF4-FFF2-40B4-BE49-F238E27FC236}">
                <a16:creationId xmlns:a16="http://schemas.microsoft.com/office/drawing/2014/main" id="{A94E4196-4ADA-674C-8F7D-6DAF6E1568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12249" r="17730" b="12032"/>
          <a:stretch/>
        </p:blipFill>
        <p:spPr>
          <a:xfrm>
            <a:off x="4889953" y="-2"/>
            <a:ext cx="7439208" cy="6877608"/>
          </a:xfrm>
          <a:prstGeom prst="rect">
            <a:avLst/>
          </a:prstGeom>
        </p:spPr>
      </p:pic>
      <p:sp>
        <p:nvSpPr>
          <p:cNvPr id="12" name="Google Shape;237;gbcc0acec0d_0_429">
            <a:extLst>
              <a:ext uri="{FF2B5EF4-FFF2-40B4-BE49-F238E27FC236}">
                <a16:creationId xmlns:a16="http://schemas.microsoft.com/office/drawing/2014/main" id="{7D4D004A-956A-E744-B244-CA05FC9F0CED}"/>
              </a:ext>
            </a:extLst>
          </p:cNvPr>
          <p:cNvSpPr txBox="1">
            <a:spLocks/>
          </p:cNvSpPr>
          <p:nvPr userDrawn="1"/>
        </p:nvSpPr>
        <p:spPr>
          <a:xfrm>
            <a:off x="6725035" y="1358116"/>
            <a:ext cx="4995286" cy="5646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0583" rIns="0" bIns="0" anchor="b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A0029"/>
              </a:buClr>
              <a:buSzPts val="3600"/>
              <a:buFont typeface="Calibri"/>
              <a:buNone/>
              <a:defRPr sz="3600" b="1" i="0" u="none" strike="noStrike" cap="none">
                <a:solidFill>
                  <a:srgbClr val="EA0029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76197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A0029"/>
              </a:buClr>
              <a:buSzPts val="3600"/>
              <a:buFont typeface="Calibri"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Prioritize, resource and execute our transformation and innovation initiatives</a:t>
            </a:r>
          </a:p>
        </p:txBody>
      </p:sp>
      <p:sp>
        <p:nvSpPr>
          <p:cNvPr id="14" name="Google Shape;237;gbcc0acec0d_0_429">
            <a:extLst>
              <a:ext uri="{FF2B5EF4-FFF2-40B4-BE49-F238E27FC236}">
                <a16:creationId xmlns:a16="http://schemas.microsoft.com/office/drawing/2014/main" id="{094B954B-2F53-384B-B0BE-9D8419423FA8}"/>
              </a:ext>
            </a:extLst>
          </p:cNvPr>
          <p:cNvSpPr txBox="1">
            <a:spLocks/>
          </p:cNvSpPr>
          <p:nvPr userDrawn="1"/>
        </p:nvSpPr>
        <p:spPr>
          <a:xfrm>
            <a:off x="6725035" y="2904985"/>
            <a:ext cx="4995286" cy="8416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0583" rIns="0" bIns="0" anchor="b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A0029"/>
              </a:buClr>
              <a:buSzPts val="3600"/>
              <a:buFont typeface="Calibri"/>
              <a:buNone/>
              <a:defRPr sz="3600" b="1" i="0" u="none" strike="noStrike" cap="none">
                <a:solidFill>
                  <a:srgbClr val="EA0029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76197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A0029"/>
              </a:buClr>
              <a:buSzPts val="3600"/>
              <a:buFont typeface="Calibri"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Increase efficiency and reduce costs by simplifying our business processes, systems and structures using TQM</a:t>
            </a:r>
          </a:p>
        </p:txBody>
      </p:sp>
      <p:sp>
        <p:nvSpPr>
          <p:cNvPr id="16" name="Google Shape;237;gbcc0acec0d_0_429">
            <a:extLst>
              <a:ext uri="{FF2B5EF4-FFF2-40B4-BE49-F238E27FC236}">
                <a16:creationId xmlns:a16="http://schemas.microsoft.com/office/drawing/2014/main" id="{0F20AD89-5E62-EE4B-ACEA-365AA6E9A476}"/>
              </a:ext>
            </a:extLst>
          </p:cNvPr>
          <p:cNvSpPr txBox="1">
            <a:spLocks/>
          </p:cNvSpPr>
          <p:nvPr userDrawn="1"/>
        </p:nvSpPr>
        <p:spPr>
          <a:xfrm>
            <a:off x="6725035" y="4728853"/>
            <a:ext cx="4995286" cy="2876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0583" rIns="0" bIns="0" anchor="b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A0029"/>
              </a:buClr>
              <a:buSzPts val="3600"/>
              <a:buFont typeface="Calibri"/>
              <a:buNone/>
              <a:defRPr sz="3600" b="1" i="0" u="none" strike="noStrike" cap="none">
                <a:solidFill>
                  <a:srgbClr val="EA0029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76197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A0029"/>
              </a:buClr>
              <a:buSzPts val="3600"/>
              <a:buFont typeface="Calibri"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Make Vyaire a great place to work</a:t>
            </a:r>
          </a:p>
        </p:txBody>
      </p:sp>
      <p:pic>
        <p:nvPicPr>
          <p:cNvPr id="20" name="Google Shape;117;p46">
            <a:extLst>
              <a:ext uri="{FF2B5EF4-FFF2-40B4-BE49-F238E27FC236}">
                <a16:creationId xmlns:a16="http://schemas.microsoft.com/office/drawing/2014/main" id="{8A2D6FB0-BF6A-5848-9F62-0B0FC8786563}"/>
              </a:ext>
            </a:extLst>
          </p:cNvPr>
          <p:cNvPicPr preferRelativeResize="0"/>
          <p:nvPr userDrawn="1"/>
        </p:nvPicPr>
        <p:blipFill rotWithShape="1">
          <a:blip r:embed="rId4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93802" y="6375789"/>
            <a:ext cx="1528252" cy="337269"/>
          </a:xfrm>
          <a:prstGeom prst="rect">
            <a:avLst/>
          </a:prstGeom>
          <a:noFill/>
          <a:ln>
            <a:noFill/>
          </a:ln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B977AB3D-AB5E-134A-9625-8B85641D85D2}"/>
              </a:ext>
            </a:extLst>
          </p:cNvPr>
          <p:cNvSpPr/>
          <p:nvPr userDrawn="1"/>
        </p:nvSpPr>
        <p:spPr>
          <a:xfrm>
            <a:off x="6093015" y="1174031"/>
            <a:ext cx="510076" cy="86177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r>
              <a:rPr kumimoji="0" lang="en-US" sz="50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ica" pitchFamily="2" charset="77"/>
                <a:cs typeface="Calibri"/>
                <a:sym typeface="Calibri"/>
              </a:rPr>
              <a:t>1</a:t>
            </a:r>
            <a:endParaRPr kumimoji="0" lang="en-US" sz="5000" b="1" i="0" u="none" strike="noStrike" kern="0" cap="none" spc="0" normalizeH="0" baseline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Sica" pitchFamily="2" charset="77"/>
              <a:cs typeface="Calibri"/>
              <a:sym typeface="Calibri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5CDC914-F28A-0341-8959-4A998EC05F41}"/>
              </a:ext>
            </a:extLst>
          </p:cNvPr>
          <p:cNvSpPr/>
          <p:nvPr userDrawn="1"/>
        </p:nvSpPr>
        <p:spPr>
          <a:xfrm>
            <a:off x="6093015" y="2776771"/>
            <a:ext cx="510076" cy="86177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r>
              <a:rPr kumimoji="0" lang="en-US" sz="50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ica" pitchFamily="2" charset="77"/>
                <a:cs typeface="Calibri"/>
                <a:sym typeface="Calibri"/>
              </a:rPr>
              <a:t>2</a:t>
            </a:r>
            <a:endParaRPr kumimoji="0" lang="en-US" sz="5000" b="1" i="0" u="none" strike="noStrike" kern="0" cap="none" spc="0" normalizeH="0" baseline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Sica" pitchFamily="2" charset="77"/>
              <a:cs typeface="Calibri"/>
              <a:sym typeface="Calibri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DB377D4-6616-A848-A4B1-8864E1E4900E}"/>
              </a:ext>
            </a:extLst>
          </p:cNvPr>
          <p:cNvSpPr/>
          <p:nvPr userDrawn="1"/>
        </p:nvSpPr>
        <p:spPr>
          <a:xfrm>
            <a:off x="6093015" y="4379511"/>
            <a:ext cx="510076" cy="86177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r>
              <a:rPr kumimoji="0" lang="en-US" sz="50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ica" pitchFamily="2" charset="77"/>
                <a:cs typeface="Calibri"/>
                <a:sym typeface="Calibri"/>
              </a:rPr>
              <a:t>3</a:t>
            </a:r>
            <a:endParaRPr kumimoji="0" lang="en-US" sz="5000" b="1" i="0" u="none" strike="noStrike" kern="0" cap="none" spc="0" normalizeH="0" baseline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Sica" pitchFamily="2" charset="77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114178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 - Simple" preserve="1" userDrawn="1">
  <p:cSld name="Agenda - Simple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33"/>
          <p:cNvSpPr txBox="1">
            <a:spLocks noGrp="1"/>
          </p:cNvSpPr>
          <p:nvPr>
            <p:ph type="body" idx="2" hasCustomPrompt="1"/>
          </p:nvPr>
        </p:nvSpPr>
        <p:spPr>
          <a:xfrm>
            <a:off x="900855" y="1192510"/>
            <a:ext cx="9523841" cy="4480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ctr" anchorCtr="0">
            <a:noAutofit/>
          </a:bodyPr>
          <a:lstStyle>
            <a:lvl1pPr marL="380985" lvl="0" indent="-190492" algn="l">
              <a:lnSpc>
                <a:spcPct val="100000"/>
              </a:lnSpc>
              <a:spcBef>
                <a:spcPts val="175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2333" baseline="30000">
                <a:solidFill>
                  <a:schemeClr val="accent6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761970" lvl="1" indent="-275156" algn="l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SzPts val="1600"/>
              <a:buFont typeface="Arial"/>
              <a:buChar char="•"/>
              <a:defRPr sz="1333">
                <a:solidFill>
                  <a:schemeClr val="dk1"/>
                </a:solidFill>
              </a:defRPr>
            </a:lvl2pPr>
            <a:lvl3pPr marL="1142954" lvl="2" indent="-275156" algn="l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SzPts val="1600"/>
              <a:buFont typeface="Arial"/>
              <a:buChar char="•"/>
              <a:defRPr sz="1333">
                <a:solidFill>
                  <a:schemeClr val="dk1"/>
                </a:solidFill>
              </a:defRPr>
            </a:lvl3pPr>
            <a:lvl4pPr marL="1523939" lvl="3" indent="-275156" algn="l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SzPts val="1600"/>
              <a:buFont typeface="Arial"/>
              <a:buChar char="•"/>
              <a:defRPr sz="1333">
                <a:solidFill>
                  <a:schemeClr val="dk1"/>
                </a:solidFill>
              </a:defRPr>
            </a:lvl4pPr>
            <a:lvl5pPr marL="1904924" lvl="4" indent="-275156" algn="l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SzPts val="1600"/>
              <a:buFont typeface="Arial"/>
              <a:buChar char="•"/>
              <a:defRPr sz="1333">
                <a:solidFill>
                  <a:schemeClr val="dk1"/>
                </a:solidFill>
              </a:defRPr>
            </a:lvl5pPr>
            <a:lvl6pPr marL="2285909" lvl="5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666893" lvl="6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047878" lvl="7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428863" lvl="8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 dirty="0"/>
              <a:t>Text goes here</a:t>
            </a:r>
            <a:endParaRPr dirty="0"/>
          </a:p>
        </p:txBody>
      </p:sp>
      <p:pic>
        <p:nvPicPr>
          <p:cNvPr id="46" name="Google Shape;46;p33"/>
          <p:cNvPicPr preferRelativeResize="0"/>
          <p:nvPr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93802" y="6375789"/>
            <a:ext cx="1528252" cy="337269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Google Shape;37;p33">
            <a:extLst>
              <a:ext uri="{FF2B5EF4-FFF2-40B4-BE49-F238E27FC236}">
                <a16:creationId xmlns:a16="http://schemas.microsoft.com/office/drawing/2014/main" id="{5895B520-6144-2B42-A1C3-A40E7FCC9D1C}"/>
              </a:ext>
            </a:extLst>
          </p:cNvPr>
          <p:cNvSpPr txBox="1">
            <a:spLocks noGrp="1"/>
          </p:cNvSpPr>
          <p:nvPr>
            <p:ph type="body" idx="11" hasCustomPrompt="1"/>
          </p:nvPr>
        </p:nvSpPr>
        <p:spPr>
          <a:xfrm>
            <a:off x="900854" y="2020980"/>
            <a:ext cx="9523841" cy="4480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ctr" anchorCtr="0">
            <a:noAutofit/>
          </a:bodyPr>
          <a:lstStyle>
            <a:lvl1pPr marL="380985" lvl="0" indent="-190492" algn="l">
              <a:lnSpc>
                <a:spcPct val="100000"/>
              </a:lnSpc>
              <a:spcBef>
                <a:spcPts val="175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2333" baseline="30000">
                <a:solidFill>
                  <a:schemeClr val="accent6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761970" lvl="1" indent="-275156" algn="l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SzPts val="1600"/>
              <a:buFont typeface="Arial"/>
              <a:buChar char="•"/>
              <a:defRPr sz="1333">
                <a:solidFill>
                  <a:schemeClr val="dk1"/>
                </a:solidFill>
              </a:defRPr>
            </a:lvl2pPr>
            <a:lvl3pPr marL="1142954" lvl="2" indent="-275156" algn="l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SzPts val="1600"/>
              <a:buFont typeface="Arial"/>
              <a:buChar char="•"/>
              <a:defRPr sz="1333">
                <a:solidFill>
                  <a:schemeClr val="dk1"/>
                </a:solidFill>
              </a:defRPr>
            </a:lvl3pPr>
            <a:lvl4pPr marL="1523939" lvl="3" indent="-275156" algn="l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SzPts val="1600"/>
              <a:buFont typeface="Arial"/>
              <a:buChar char="•"/>
              <a:defRPr sz="1333">
                <a:solidFill>
                  <a:schemeClr val="dk1"/>
                </a:solidFill>
              </a:defRPr>
            </a:lvl4pPr>
            <a:lvl5pPr marL="1904924" lvl="4" indent="-275156" algn="l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SzPts val="1600"/>
              <a:buFont typeface="Arial"/>
              <a:buChar char="•"/>
              <a:defRPr sz="1333">
                <a:solidFill>
                  <a:schemeClr val="dk1"/>
                </a:solidFill>
              </a:defRPr>
            </a:lvl5pPr>
            <a:lvl6pPr marL="2285909" lvl="5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666893" lvl="6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047878" lvl="7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428863" lvl="8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 dirty="0"/>
              <a:t>Text goes here </a:t>
            </a:r>
            <a:endParaRPr dirty="0"/>
          </a:p>
        </p:txBody>
      </p:sp>
      <p:sp>
        <p:nvSpPr>
          <p:cNvPr id="17" name="Google Shape;37;p33">
            <a:extLst>
              <a:ext uri="{FF2B5EF4-FFF2-40B4-BE49-F238E27FC236}">
                <a16:creationId xmlns:a16="http://schemas.microsoft.com/office/drawing/2014/main" id="{1EA3545E-660A-2B40-8EB7-7F59B8164C1C}"/>
              </a:ext>
            </a:extLst>
          </p:cNvPr>
          <p:cNvSpPr txBox="1">
            <a:spLocks noGrp="1"/>
          </p:cNvSpPr>
          <p:nvPr>
            <p:ph type="body" idx="12" hasCustomPrompt="1"/>
          </p:nvPr>
        </p:nvSpPr>
        <p:spPr>
          <a:xfrm>
            <a:off x="900853" y="2849450"/>
            <a:ext cx="9523841" cy="4480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ctr" anchorCtr="0">
            <a:noAutofit/>
          </a:bodyPr>
          <a:lstStyle>
            <a:lvl1pPr marL="380985" lvl="0" indent="-190492" algn="l">
              <a:lnSpc>
                <a:spcPct val="100000"/>
              </a:lnSpc>
              <a:spcBef>
                <a:spcPts val="175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2333" baseline="30000">
                <a:solidFill>
                  <a:schemeClr val="accent6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761970" lvl="1" indent="-275156" algn="l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SzPts val="1600"/>
              <a:buFont typeface="Arial"/>
              <a:buChar char="•"/>
              <a:defRPr sz="1333">
                <a:solidFill>
                  <a:schemeClr val="dk1"/>
                </a:solidFill>
              </a:defRPr>
            </a:lvl2pPr>
            <a:lvl3pPr marL="1142954" lvl="2" indent="-275156" algn="l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SzPts val="1600"/>
              <a:buFont typeface="Arial"/>
              <a:buChar char="•"/>
              <a:defRPr sz="1333">
                <a:solidFill>
                  <a:schemeClr val="dk1"/>
                </a:solidFill>
              </a:defRPr>
            </a:lvl3pPr>
            <a:lvl4pPr marL="1523939" lvl="3" indent="-275156" algn="l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SzPts val="1600"/>
              <a:buFont typeface="Arial"/>
              <a:buChar char="•"/>
              <a:defRPr sz="1333">
                <a:solidFill>
                  <a:schemeClr val="dk1"/>
                </a:solidFill>
              </a:defRPr>
            </a:lvl4pPr>
            <a:lvl5pPr marL="1904924" lvl="4" indent="-275156" algn="l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SzPts val="1600"/>
              <a:buFont typeface="Arial"/>
              <a:buChar char="•"/>
              <a:defRPr sz="1333">
                <a:solidFill>
                  <a:schemeClr val="dk1"/>
                </a:solidFill>
              </a:defRPr>
            </a:lvl5pPr>
            <a:lvl6pPr marL="2285909" lvl="5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666893" lvl="6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047878" lvl="7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428863" lvl="8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 dirty="0"/>
              <a:t>Text goes here </a:t>
            </a:r>
            <a:endParaRPr dirty="0"/>
          </a:p>
        </p:txBody>
      </p:sp>
      <p:sp>
        <p:nvSpPr>
          <p:cNvPr id="18" name="Google Shape;37;p33">
            <a:extLst>
              <a:ext uri="{FF2B5EF4-FFF2-40B4-BE49-F238E27FC236}">
                <a16:creationId xmlns:a16="http://schemas.microsoft.com/office/drawing/2014/main" id="{7400A517-270C-FF42-99DE-5AF52F9D8A4B}"/>
              </a:ext>
            </a:extLst>
          </p:cNvPr>
          <p:cNvSpPr txBox="1">
            <a:spLocks noGrp="1"/>
          </p:cNvSpPr>
          <p:nvPr>
            <p:ph type="body" idx="13" hasCustomPrompt="1"/>
          </p:nvPr>
        </p:nvSpPr>
        <p:spPr>
          <a:xfrm>
            <a:off x="900852" y="3677920"/>
            <a:ext cx="9523841" cy="4480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ctr" anchorCtr="0">
            <a:noAutofit/>
          </a:bodyPr>
          <a:lstStyle>
            <a:lvl1pPr marL="380985" lvl="0" indent="-190492" algn="l">
              <a:lnSpc>
                <a:spcPct val="100000"/>
              </a:lnSpc>
              <a:spcBef>
                <a:spcPts val="175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2333" baseline="30000">
                <a:solidFill>
                  <a:schemeClr val="accent6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761970" lvl="1" indent="-275156" algn="l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SzPts val="1600"/>
              <a:buFont typeface="Arial"/>
              <a:buChar char="•"/>
              <a:defRPr sz="1333">
                <a:solidFill>
                  <a:schemeClr val="dk1"/>
                </a:solidFill>
              </a:defRPr>
            </a:lvl2pPr>
            <a:lvl3pPr marL="1142954" lvl="2" indent="-275156" algn="l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SzPts val="1600"/>
              <a:buFont typeface="Arial"/>
              <a:buChar char="•"/>
              <a:defRPr sz="1333">
                <a:solidFill>
                  <a:schemeClr val="dk1"/>
                </a:solidFill>
              </a:defRPr>
            </a:lvl3pPr>
            <a:lvl4pPr marL="1523939" lvl="3" indent="-275156" algn="l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SzPts val="1600"/>
              <a:buFont typeface="Arial"/>
              <a:buChar char="•"/>
              <a:defRPr sz="1333">
                <a:solidFill>
                  <a:schemeClr val="dk1"/>
                </a:solidFill>
              </a:defRPr>
            </a:lvl4pPr>
            <a:lvl5pPr marL="1904924" lvl="4" indent="-275156" algn="l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SzPts val="1600"/>
              <a:buFont typeface="Arial"/>
              <a:buChar char="•"/>
              <a:defRPr sz="1333">
                <a:solidFill>
                  <a:schemeClr val="dk1"/>
                </a:solidFill>
              </a:defRPr>
            </a:lvl5pPr>
            <a:lvl6pPr marL="2285909" lvl="5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666893" lvl="6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047878" lvl="7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428863" lvl="8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 dirty="0"/>
              <a:t>Text goes here </a:t>
            </a:r>
            <a:endParaRPr dirty="0"/>
          </a:p>
        </p:txBody>
      </p:sp>
      <p:sp>
        <p:nvSpPr>
          <p:cNvPr id="19" name="Google Shape;37;p33">
            <a:extLst>
              <a:ext uri="{FF2B5EF4-FFF2-40B4-BE49-F238E27FC236}">
                <a16:creationId xmlns:a16="http://schemas.microsoft.com/office/drawing/2014/main" id="{C1E86FA7-C0D9-BC49-8790-F4D1FE1F8E8D}"/>
              </a:ext>
            </a:extLst>
          </p:cNvPr>
          <p:cNvSpPr txBox="1">
            <a:spLocks noGrp="1"/>
          </p:cNvSpPr>
          <p:nvPr>
            <p:ph type="body" idx="14" hasCustomPrompt="1"/>
          </p:nvPr>
        </p:nvSpPr>
        <p:spPr>
          <a:xfrm>
            <a:off x="900851" y="4506389"/>
            <a:ext cx="9523841" cy="4480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ctr" anchorCtr="0">
            <a:noAutofit/>
          </a:bodyPr>
          <a:lstStyle>
            <a:lvl1pPr marL="380985" lvl="0" indent="-190492" algn="l">
              <a:lnSpc>
                <a:spcPct val="100000"/>
              </a:lnSpc>
              <a:spcBef>
                <a:spcPts val="175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2333" baseline="30000">
                <a:solidFill>
                  <a:schemeClr val="accent6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761970" lvl="1" indent="-275156" algn="l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SzPts val="1600"/>
              <a:buFont typeface="Arial"/>
              <a:buChar char="•"/>
              <a:defRPr sz="1333">
                <a:solidFill>
                  <a:schemeClr val="dk1"/>
                </a:solidFill>
              </a:defRPr>
            </a:lvl2pPr>
            <a:lvl3pPr marL="1142954" lvl="2" indent="-275156" algn="l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SzPts val="1600"/>
              <a:buFont typeface="Arial"/>
              <a:buChar char="•"/>
              <a:defRPr sz="1333">
                <a:solidFill>
                  <a:schemeClr val="dk1"/>
                </a:solidFill>
              </a:defRPr>
            </a:lvl3pPr>
            <a:lvl4pPr marL="1523939" lvl="3" indent="-275156" algn="l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SzPts val="1600"/>
              <a:buFont typeface="Arial"/>
              <a:buChar char="•"/>
              <a:defRPr sz="1333">
                <a:solidFill>
                  <a:schemeClr val="dk1"/>
                </a:solidFill>
              </a:defRPr>
            </a:lvl4pPr>
            <a:lvl5pPr marL="1904924" lvl="4" indent="-275156" algn="l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SzPts val="1600"/>
              <a:buFont typeface="Arial"/>
              <a:buChar char="•"/>
              <a:defRPr sz="1333">
                <a:solidFill>
                  <a:schemeClr val="dk1"/>
                </a:solidFill>
              </a:defRPr>
            </a:lvl5pPr>
            <a:lvl6pPr marL="2285909" lvl="5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666893" lvl="6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047878" lvl="7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428863" lvl="8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 dirty="0"/>
              <a:t>Text goes here </a:t>
            </a:r>
            <a:endParaRPr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CDBA92F-701A-A643-9B32-5D82018B9C21}"/>
              </a:ext>
            </a:extLst>
          </p:cNvPr>
          <p:cNvSpPr txBox="1"/>
          <p:nvPr userDrawn="1"/>
        </p:nvSpPr>
        <p:spPr>
          <a:xfrm>
            <a:off x="386363" y="1147236"/>
            <a:ext cx="417102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0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●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91DF848-E91E-E84C-BAA2-D383ECE30508}"/>
              </a:ext>
            </a:extLst>
          </p:cNvPr>
          <p:cNvSpPr txBox="1"/>
          <p:nvPr userDrawn="1"/>
        </p:nvSpPr>
        <p:spPr>
          <a:xfrm>
            <a:off x="386363" y="1975706"/>
            <a:ext cx="417102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0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●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C0E3853-77A0-404E-BC82-FF31FEBCFB1E}"/>
              </a:ext>
            </a:extLst>
          </p:cNvPr>
          <p:cNvSpPr txBox="1"/>
          <p:nvPr userDrawn="1"/>
        </p:nvSpPr>
        <p:spPr>
          <a:xfrm>
            <a:off x="392674" y="2804176"/>
            <a:ext cx="417102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0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●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66FA6F9-7E92-C541-9B2B-F064AF5DBCF4}"/>
              </a:ext>
            </a:extLst>
          </p:cNvPr>
          <p:cNvSpPr txBox="1"/>
          <p:nvPr userDrawn="1"/>
        </p:nvSpPr>
        <p:spPr>
          <a:xfrm>
            <a:off x="386363" y="3632646"/>
            <a:ext cx="417102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0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●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4D588C7-5A38-5A47-8E81-EBEB5F3D6E6B}"/>
              </a:ext>
            </a:extLst>
          </p:cNvPr>
          <p:cNvSpPr txBox="1"/>
          <p:nvPr userDrawn="1"/>
        </p:nvSpPr>
        <p:spPr>
          <a:xfrm>
            <a:off x="386363" y="4461115"/>
            <a:ext cx="417102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0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●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A8A4F0B-0AFF-C24B-8DB9-50F2B26A7CB0}"/>
              </a:ext>
            </a:extLst>
          </p:cNvPr>
          <p:cNvSpPr txBox="1">
            <a:spLocks/>
          </p:cNvSpPr>
          <p:nvPr userDrawn="1"/>
        </p:nvSpPr>
        <p:spPr>
          <a:xfrm>
            <a:off x="447681" y="372135"/>
            <a:ext cx="10944617" cy="486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0583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A0029"/>
              </a:buClr>
              <a:buSzPts val="3600"/>
              <a:buFont typeface="Calibri"/>
              <a:buNone/>
              <a:defRPr sz="3600" b="1" i="0" u="none" strike="noStrike" cap="none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3000" dirty="0">
                <a:solidFill>
                  <a:schemeClr val="accent6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5189775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away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oogle Shape;46;p33">
            <a:extLst>
              <a:ext uri="{FF2B5EF4-FFF2-40B4-BE49-F238E27FC236}">
                <a16:creationId xmlns:a16="http://schemas.microsoft.com/office/drawing/2014/main" id="{CF0ACD88-0189-E14C-B99F-71225731B1B5}"/>
              </a:ext>
            </a:extLst>
          </p:cNvPr>
          <p:cNvPicPr preferRelativeResize="0"/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93802" y="6375789"/>
            <a:ext cx="1528252" cy="337269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Google Shape;37;p33">
            <a:extLst>
              <a:ext uri="{FF2B5EF4-FFF2-40B4-BE49-F238E27FC236}">
                <a16:creationId xmlns:a16="http://schemas.microsoft.com/office/drawing/2014/main" id="{08CEC33C-2A1E-6341-B9AB-3DEB0A7AE7B2}"/>
              </a:ext>
            </a:extLst>
          </p:cNvPr>
          <p:cNvSpPr txBox="1">
            <a:spLocks noGrp="1"/>
          </p:cNvSpPr>
          <p:nvPr>
            <p:ph type="body" idx="2" hasCustomPrompt="1"/>
          </p:nvPr>
        </p:nvSpPr>
        <p:spPr>
          <a:xfrm>
            <a:off x="900855" y="1192510"/>
            <a:ext cx="9523841" cy="4480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ctr" anchorCtr="0">
            <a:noAutofit/>
          </a:bodyPr>
          <a:lstStyle>
            <a:lvl1pPr marL="380985" lvl="0" indent="-190492" algn="l">
              <a:lnSpc>
                <a:spcPct val="100000"/>
              </a:lnSpc>
              <a:spcBef>
                <a:spcPts val="175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2333" baseline="30000">
                <a:solidFill>
                  <a:schemeClr val="accent6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761970" lvl="1" indent="-275156" algn="l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SzPts val="1600"/>
              <a:buFont typeface="Arial"/>
              <a:buChar char="•"/>
              <a:defRPr sz="1333">
                <a:solidFill>
                  <a:schemeClr val="dk1"/>
                </a:solidFill>
              </a:defRPr>
            </a:lvl2pPr>
            <a:lvl3pPr marL="1142954" lvl="2" indent="-275156" algn="l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SzPts val="1600"/>
              <a:buFont typeface="Arial"/>
              <a:buChar char="•"/>
              <a:defRPr sz="1333">
                <a:solidFill>
                  <a:schemeClr val="dk1"/>
                </a:solidFill>
              </a:defRPr>
            </a:lvl3pPr>
            <a:lvl4pPr marL="1523939" lvl="3" indent="-275156" algn="l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SzPts val="1600"/>
              <a:buFont typeface="Arial"/>
              <a:buChar char="•"/>
              <a:defRPr sz="1333">
                <a:solidFill>
                  <a:schemeClr val="dk1"/>
                </a:solidFill>
              </a:defRPr>
            </a:lvl4pPr>
            <a:lvl5pPr marL="1904924" lvl="4" indent="-275156" algn="l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SzPts val="1600"/>
              <a:buFont typeface="Arial"/>
              <a:buChar char="•"/>
              <a:defRPr sz="1333">
                <a:solidFill>
                  <a:schemeClr val="dk1"/>
                </a:solidFill>
              </a:defRPr>
            </a:lvl5pPr>
            <a:lvl6pPr marL="2285909" lvl="5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666893" lvl="6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047878" lvl="7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428863" lvl="8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 dirty="0"/>
              <a:t>Text goes here</a:t>
            </a:r>
            <a:endParaRPr dirty="0"/>
          </a:p>
        </p:txBody>
      </p:sp>
      <p:sp>
        <p:nvSpPr>
          <p:cNvPr id="17" name="Google Shape;37;p33">
            <a:extLst>
              <a:ext uri="{FF2B5EF4-FFF2-40B4-BE49-F238E27FC236}">
                <a16:creationId xmlns:a16="http://schemas.microsoft.com/office/drawing/2014/main" id="{A31C659E-CD5B-4B47-B1DC-C285A3C36CFC}"/>
              </a:ext>
            </a:extLst>
          </p:cNvPr>
          <p:cNvSpPr txBox="1">
            <a:spLocks noGrp="1"/>
          </p:cNvSpPr>
          <p:nvPr>
            <p:ph type="body" idx="11" hasCustomPrompt="1"/>
          </p:nvPr>
        </p:nvSpPr>
        <p:spPr>
          <a:xfrm>
            <a:off x="900854" y="2020980"/>
            <a:ext cx="9523841" cy="4480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ctr" anchorCtr="0">
            <a:noAutofit/>
          </a:bodyPr>
          <a:lstStyle>
            <a:lvl1pPr marL="380985" lvl="0" indent="-190492" algn="l">
              <a:lnSpc>
                <a:spcPct val="100000"/>
              </a:lnSpc>
              <a:spcBef>
                <a:spcPts val="175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2333" baseline="30000">
                <a:solidFill>
                  <a:schemeClr val="accent6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761970" lvl="1" indent="-275156" algn="l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SzPts val="1600"/>
              <a:buFont typeface="Arial"/>
              <a:buChar char="•"/>
              <a:defRPr sz="1333">
                <a:solidFill>
                  <a:schemeClr val="dk1"/>
                </a:solidFill>
              </a:defRPr>
            </a:lvl2pPr>
            <a:lvl3pPr marL="1142954" lvl="2" indent="-275156" algn="l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SzPts val="1600"/>
              <a:buFont typeface="Arial"/>
              <a:buChar char="•"/>
              <a:defRPr sz="1333">
                <a:solidFill>
                  <a:schemeClr val="dk1"/>
                </a:solidFill>
              </a:defRPr>
            </a:lvl3pPr>
            <a:lvl4pPr marL="1523939" lvl="3" indent="-275156" algn="l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SzPts val="1600"/>
              <a:buFont typeface="Arial"/>
              <a:buChar char="•"/>
              <a:defRPr sz="1333">
                <a:solidFill>
                  <a:schemeClr val="dk1"/>
                </a:solidFill>
              </a:defRPr>
            </a:lvl4pPr>
            <a:lvl5pPr marL="1904924" lvl="4" indent="-275156" algn="l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SzPts val="1600"/>
              <a:buFont typeface="Arial"/>
              <a:buChar char="•"/>
              <a:defRPr sz="1333">
                <a:solidFill>
                  <a:schemeClr val="dk1"/>
                </a:solidFill>
              </a:defRPr>
            </a:lvl5pPr>
            <a:lvl6pPr marL="2285909" lvl="5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666893" lvl="6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047878" lvl="7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428863" lvl="8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 dirty="0"/>
              <a:t>Text goes here </a:t>
            </a:r>
            <a:endParaRPr dirty="0"/>
          </a:p>
        </p:txBody>
      </p:sp>
      <p:sp>
        <p:nvSpPr>
          <p:cNvPr id="18" name="Google Shape;37;p33">
            <a:extLst>
              <a:ext uri="{FF2B5EF4-FFF2-40B4-BE49-F238E27FC236}">
                <a16:creationId xmlns:a16="http://schemas.microsoft.com/office/drawing/2014/main" id="{CE56FB1B-832A-F349-A026-F8B4F757E095}"/>
              </a:ext>
            </a:extLst>
          </p:cNvPr>
          <p:cNvSpPr txBox="1">
            <a:spLocks noGrp="1"/>
          </p:cNvSpPr>
          <p:nvPr>
            <p:ph type="body" idx="12" hasCustomPrompt="1"/>
          </p:nvPr>
        </p:nvSpPr>
        <p:spPr>
          <a:xfrm>
            <a:off x="900853" y="2849450"/>
            <a:ext cx="9523841" cy="4480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ctr" anchorCtr="0">
            <a:noAutofit/>
          </a:bodyPr>
          <a:lstStyle>
            <a:lvl1pPr marL="380985" lvl="0" indent="-190492" algn="l">
              <a:lnSpc>
                <a:spcPct val="100000"/>
              </a:lnSpc>
              <a:spcBef>
                <a:spcPts val="175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2333" baseline="30000">
                <a:solidFill>
                  <a:schemeClr val="accent6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761970" lvl="1" indent="-275156" algn="l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SzPts val="1600"/>
              <a:buFont typeface="Arial"/>
              <a:buChar char="•"/>
              <a:defRPr sz="1333">
                <a:solidFill>
                  <a:schemeClr val="dk1"/>
                </a:solidFill>
              </a:defRPr>
            </a:lvl2pPr>
            <a:lvl3pPr marL="1142954" lvl="2" indent="-275156" algn="l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SzPts val="1600"/>
              <a:buFont typeface="Arial"/>
              <a:buChar char="•"/>
              <a:defRPr sz="1333">
                <a:solidFill>
                  <a:schemeClr val="dk1"/>
                </a:solidFill>
              </a:defRPr>
            </a:lvl3pPr>
            <a:lvl4pPr marL="1523939" lvl="3" indent="-275156" algn="l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SzPts val="1600"/>
              <a:buFont typeface="Arial"/>
              <a:buChar char="•"/>
              <a:defRPr sz="1333">
                <a:solidFill>
                  <a:schemeClr val="dk1"/>
                </a:solidFill>
              </a:defRPr>
            </a:lvl4pPr>
            <a:lvl5pPr marL="1904924" lvl="4" indent="-275156" algn="l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SzPts val="1600"/>
              <a:buFont typeface="Arial"/>
              <a:buChar char="•"/>
              <a:defRPr sz="1333">
                <a:solidFill>
                  <a:schemeClr val="dk1"/>
                </a:solidFill>
              </a:defRPr>
            </a:lvl5pPr>
            <a:lvl6pPr marL="2285909" lvl="5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666893" lvl="6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047878" lvl="7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428863" lvl="8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 dirty="0"/>
              <a:t>Text goes here </a:t>
            </a:r>
            <a:endParaRPr dirty="0"/>
          </a:p>
        </p:txBody>
      </p:sp>
      <p:sp>
        <p:nvSpPr>
          <p:cNvPr id="19" name="Google Shape;37;p33">
            <a:extLst>
              <a:ext uri="{FF2B5EF4-FFF2-40B4-BE49-F238E27FC236}">
                <a16:creationId xmlns:a16="http://schemas.microsoft.com/office/drawing/2014/main" id="{044A2C9B-B6C6-0A4E-9B70-8FE23726A76C}"/>
              </a:ext>
            </a:extLst>
          </p:cNvPr>
          <p:cNvSpPr txBox="1">
            <a:spLocks noGrp="1"/>
          </p:cNvSpPr>
          <p:nvPr>
            <p:ph type="body" idx="13" hasCustomPrompt="1"/>
          </p:nvPr>
        </p:nvSpPr>
        <p:spPr>
          <a:xfrm>
            <a:off x="900852" y="3677920"/>
            <a:ext cx="9523841" cy="4480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ctr" anchorCtr="0">
            <a:noAutofit/>
          </a:bodyPr>
          <a:lstStyle>
            <a:lvl1pPr marL="380985" lvl="0" indent="-190492" algn="l">
              <a:lnSpc>
                <a:spcPct val="100000"/>
              </a:lnSpc>
              <a:spcBef>
                <a:spcPts val="175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2333" baseline="30000">
                <a:solidFill>
                  <a:schemeClr val="accent6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761970" lvl="1" indent="-275156" algn="l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SzPts val="1600"/>
              <a:buFont typeface="Arial"/>
              <a:buChar char="•"/>
              <a:defRPr sz="1333">
                <a:solidFill>
                  <a:schemeClr val="dk1"/>
                </a:solidFill>
              </a:defRPr>
            </a:lvl2pPr>
            <a:lvl3pPr marL="1142954" lvl="2" indent="-275156" algn="l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SzPts val="1600"/>
              <a:buFont typeface="Arial"/>
              <a:buChar char="•"/>
              <a:defRPr sz="1333">
                <a:solidFill>
                  <a:schemeClr val="dk1"/>
                </a:solidFill>
              </a:defRPr>
            </a:lvl3pPr>
            <a:lvl4pPr marL="1523939" lvl="3" indent="-275156" algn="l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SzPts val="1600"/>
              <a:buFont typeface="Arial"/>
              <a:buChar char="•"/>
              <a:defRPr sz="1333">
                <a:solidFill>
                  <a:schemeClr val="dk1"/>
                </a:solidFill>
              </a:defRPr>
            </a:lvl4pPr>
            <a:lvl5pPr marL="1904924" lvl="4" indent="-275156" algn="l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SzPts val="1600"/>
              <a:buFont typeface="Arial"/>
              <a:buChar char="•"/>
              <a:defRPr sz="1333">
                <a:solidFill>
                  <a:schemeClr val="dk1"/>
                </a:solidFill>
              </a:defRPr>
            </a:lvl5pPr>
            <a:lvl6pPr marL="2285909" lvl="5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666893" lvl="6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047878" lvl="7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428863" lvl="8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 dirty="0"/>
              <a:t>Text goes here </a:t>
            </a:r>
            <a:endParaRPr dirty="0"/>
          </a:p>
        </p:txBody>
      </p:sp>
      <p:sp>
        <p:nvSpPr>
          <p:cNvPr id="20" name="Google Shape;37;p33">
            <a:extLst>
              <a:ext uri="{FF2B5EF4-FFF2-40B4-BE49-F238E27FC236}">
                <a16:creationId xmlns:a16="http://schemas.microsoft.com/office/drawing/2014/main" id="{A8236C92-B09F-084C-8D68-9E53D60BA6EE}"/>
              </a:ext>
            </a:extLst>
          </p:cNvPr>
          <p:cNvSpPr txBox="1">
            <a:spLocks noGrp="1"/>
          </p:cNvSpPr>
          <p:nvPr>
            <p:ph type="body" idx="14" hasCustomPrompt="1"/>
          </p:nvPr>
        </p:nvSpPr>
        <p:spPr>
          <a:xfrm>
            <a:off x="900851" y="4506389"/>
            <a:ext cx="9523841" cy="4480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ctr" anchorCtr="0">
            <a:noAutofit/>
          </a:bodyPr>
          <a:lstStyle>
            <a:lvl1pPr marL="380985" lvl="0" indent="-190492" algn="l">
              <a:lnSpc>
                <a:spcPct val="100000"/>
              </a:lnSpc>
              <a:spcBef>
                <a:spcPts val="175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2333" baseline="30000">
                <a:solidFill>
                  <a:schemeClr val="accent6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761970" lvl="1" indent="-275156" algn="l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SzPts val="1600"/>
              <a:buFont typeface="Arial"/>
              <a:buChar char="•"/>
              <a:defRPr sz="1333">
                <a:solidFill>
                  <a:schemeClr val="dk1"/>
                </a:solidFill>
              </a:defRPr>
            </a:lvl2pPr>
            <a:lvl3pPr marL="1142954" lvl="2" indent="-275156" algn="l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SzPts val="1600"/>
              <a:buFont typeface="Arial"/>
              <a:buChar char="•"/>
              <a:defRPr sz="1333">
                <a:solidFill>
                  <a:schemeClr val="dk1"/>
                </a:solidFill>
              </a:defRPr>
            </a:lvl3pPr>
            <a:lvl4pPr marL="1523939" lvl="3" indent="-275156" algn="l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SzPts val="1600"/>
              <a:buFont typeface="Arial"/>
              <a:buChar char="•"/>
              <a:defRPr sz="1333">
                <a:solidFill>
                  <a:schemeClr val="dk1"/>
                </a:solidFill>
              </a:defRPr>
            </a:lvl4pPr>
            <a:lvl5pPr marL="1904924" lvl="4" indent="-275156" algn="l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SzPts val="1600"/>
              <a:buFont typeface="Arial"/>
              <a:buChar char="•"/>
              <a:defRPr sz="1333">
                <a:solidFill>
                  <a:schemeClr val="dk1"/>
                </a:solidFill>
              </a:defRPr>
            </a:lvl5pPr>
            <a:lvl6pPr marL="2285909" lvl="5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666893" lvl="6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047878" lvl="7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428863" lvl="8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 dirty="0"/>
              <a:t>Text goes here </a:t>
            </a:r>
            <a:endParaRPr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14DBF3F-CF8A-DB4E-BE60-878A256258F2}"/>
              </a:ext>
            </a:extLst>
          </p:cNvPr>
          <p:cNvSpPr txBox="1"/>
          <p:nvPr userDrawn="1"/>
        </p:nvSpPr>
        <p:spPr>
          <a:xfrm>
            <a:off x="386363" y="1147236"/>
            <a:ext cx="417102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0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●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C5950F8-174C-DC44-849A-7BE37939B04F}"/>
              </a:ext>
            </a:extLst>
          </p:cNvPr>
          <p:cNvSpPr txBox="1"/>
          <p:nvPr userDrawn="1"/>
        </p:nvSpPr>
        <p:spPr>
          <a:xfrm>
            <a:off x="386363" y="1975706"/>
            <a:ext cx="417102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0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●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76D46FF-6FE7-D94B-86B4-A15A345CE11C}"/>
              </a:ext>
            </a:extLst>
          </p:cNvPr>
          <p:cNvSpPr txBox="1"/>
          <p:nvPr userDrawn="1"/>
        </p:nvSpPr>
        <p:spPr>
          <a:xfrm>
            <a:off x="392674" y="2804176"/>
            <a:ext cx="417102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0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●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1B180E1-5FBC-5D42-83C2-0EF140C83E9D}"/>
              </a:ext>
            </a:extLst>
          </p:cNvPr>
          <p:cNvSpPr txBox="1"/>
          <p:nvPr userDrawn="1"/>
        </p:nvSpPr>
        <p:spPr>
          <a:xfrm>
            <a:off x="386363" y="3632646"/>
            <a:ext cx="417102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0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●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31175A6-286C-A442-A9DC-1AF075CF3275}"/>
              </a:ext>
            </a:extLst>
          </p:cNvPr>
          <p:cNvSpPr txBox="1"/>
          <p:nvPr userDrawn="1"/>
        </p:nvSpPr>
        <p:spPr>
          <a:xfrm>
            <a:off x="386363" y="4461115"/>
            <a:ext cx="417102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0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●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99DB6275-5DF2-C746-96A5-9B28405FF303}"/>
              </a:ext>
            </a:extLst>
          </p:cNvPr>
          <p:cNvSpPr txBox="1">
            <a:spLocks/>
          </p:cNvSpPr>
          <p:nvPr userDrawn="1"/>
        </p:nvSpPr>
        <p:spPr>
          <a:xfrm>
            <a:off x="447681" y="372135"/>
            <a:ext cx="10944617" cy="486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0583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A0029"/>
              </a:buClr>
              <a:buSzPts val="3600"/>
              <a:buFont typeface="Calibri"/>
              <a:buNone/>
              <a:defRPr sz="3600" b="1" i="0" u="none" strike="noStrike" cap="none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3000" dirty="0">
                <a:solidFill>
                  <a:schemeClr val="accent6"/>
                </a:solidFill>
              </a:rPr>
              <a:t>Key Takeaways</a:t>
            </a:r>
          </a:p>
        </p:txBody>
      </p:sp>
    </p:spTree>
    <p:extLst>
      <p:ext uri="{BB962C8B-B14F-4D97-AF65-F5344CB8AC3E}">
        <p14:creationId xmlns:p14="http://schemas.microsoft.com/office/powerpoint/2010/main" val="9393262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B7918E-97DF-F847-B07F-1C577123B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1999" y="365145"/>
            <a:ext cx="10944618" cy="486025"/>
          </a:xfrm>
        </p:spPr>
        <p:txBody>
          <a:bodyPr anchor="t"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Google Shape;107;p86">
            <a:extLst>
              <a:ext uri="{FF2B5EF4-FFF2-40B4-BE49-F238E27FC236}">
                <a16:creationId xmlns:a16="http://schemas.microsoft.com/office/drawing/2014/main" id="{BA2A99A1-6A89-F149-B6B1-4D1691380DB2}"/>
              </a:ext>
            </a:extLst>
          </p:cNvPr>
          <p:cNvPicPr preferRelativeResize="0"/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93802" y="6375789"/>
            <a:ext cx="1528252" cy="337269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Google Shape;141;p50">
            <a:extLst>
              <a:ext uri="{FF2B5EF4-FFF2-40B4-BE49-F238E27FC236}">
                <a16:creationId xmlns:a16="http://schemas.microsoft.com/office/drawing/2014/main" id="{13FB1372-E171-B14A-B872-9172DC850C60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471999" y="737569"/>
            <a:ext cx="10944618" cy="434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ctr" anchorCtr="0">
            <a:noAutofit/>
          </a:bodyPr>
          <a:lstStyle>
            <a:lvl1pPr marL="380985" lvl="0" indent="-190492" algn="l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000" b="1">
                <a:solidFill>
                  <a:schemeClr val="accent3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761970" lvl="1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2954" lvl="2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523939" lvl="3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904924" lvl="4" indent="-1904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SzPts val="24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5909" lvl="5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666893" lvl="6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047878" lvl="7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428863" lvl="8" indent="-28573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 dirty="0"/>
              <a:t>Sub-Head (24pt)</a:t>
            </a:r>
            <a:endParaRPr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DE8C1280-6C47-ED4C-9AE7-12E564C345B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72282" y="1361282"/>
            <a:ext cx="10944489" cy="3802063"/>
          </a:xfrm>
        </p:spPr>
        <p:txBody>
          <a:bodyPr/>
          <a:lstStyle>
            <a:lvl1pPr marL="95246" indent="0">
              <a:buClr>
                <a:srgbClr val="002060"/>
              </a:buClr>
              <a:buSzPct val="100000"/>
              <a:buFont typeface="Arial" panose="020B0604020202020204" pitchFamily="34" charset="0"/>
              <a:buNone/>
              <a:defRPr sz="2000">
                <a:solidFill>
                  <a:schemeClr val="accent6"/>
                </a:solidFill>
              </a:defRPr>
            </a:lvl1pPr>
            <a:lvl2pPr>
              <a:buClr>
                <a:srgbClr val="002060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rgbClr val="002060"/>
              </a:buClr>
              <a:defRPr sz="1333">
                <a:solidFill>
                  <a:schemeClr val="accent6"/>
                </a:solidFill>
              </a:defRPr>
            </a:lvl3pPr>
            <a:lvl4pPr>
              <a:buClr>
                <a:srgbClr val="002060"/>
              </a:buClr>
              <a:defRPr sz="1167"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4979750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28"/>
          <p:cNvSpPr txBox="1"/>
          <p:nvPr/>
        </p:nvSpPr>
        <p:spPr>
          <a:xfrm>
            <a:off x="306455" y="6387042"/>
            <a:ext cx="6886046" cy="117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833" b="0" i="0" u="none" strike="noStrike" cap="none" dirty="0">
                <a:solidFill>
                  <a:srgbClr val="A7A9AC"/>
                </a:solidFill>
                <a:latin typeface="Calibri"/>
                <a:ea typeface="Calibri"/>
                <a:cs typeface="Calibri"/>
                <a:sym typeface="Calibri"/>
              </a:rPr>
              <a:t>© 2021 Vyaire. Vyaire and the Vyaire logo are trademarks or registered trademarks of Vyaire Medical, Inc., or one of its affiliates.</a:t>
            </a:r>
            <a:endParaRPr sz="1500" dirty="0"/>
          </a:p>
        </p:txBody>
      </p:sp>
      <p:sp>
        <p:nvSpPr>
          <p:cNvPr id="7" name="Google Shape;7;p28"/>
          <p:cNvSpPr txBox="1">
            <a:spLocks noGrp="1"/>
          </p:cNvSpPr>
          <p:nvPr>
            <p:ph type="body" idx="1"/>
          </p:nvPr>
        </p:nvSpPr>
        <p:spPr>
          <a:xfrm>
            <a:off x="747448" y="3126104"/>
            <a:ext cx="4395258" cy="22563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noAutofit/>
          </a:bodyPr>
          <a:lstStyle>
            <a:lvl1pPr marL="457200" marR="0" lvl="0" indent="-342900" algn="l" rtl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411479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880"/>
              <a:buFont typeface="Arial"/>
              <a:buChar char="•"/>
              <a:defRPr sz="288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411479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880"/>
              <a:buFont typeface="Arial"/>
              <a:buChar char="•"/>
              <a:defRPr sz="288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411479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880"/>
              <a:buFont typeface="Arial"/>
              <a:buChar char="•"/>
              <a:defRPr sz="288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411479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880"/>
              <a:buFont typeface="Arial"/>
              <a:buChar char="•"/>
              <a:defRPr sz="288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p28"/>
          <p:cNvSpPr txBox="1">
            <a:spLocks noGrp="1"/>
          </p:cNvSpPr>
          <p:nvPr>
            <p:ph type="title"/>
          </p:nvPr>
        </p:nvSpPr>
        <p:spPr>
          <a:xfrm>
            <a:off x="472000" y="365145"/>
            <a:ext cx="6001278" cy="9355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A0029"/>
              </a:buClr>
              <a:buSzPts val="3600"/>
              <a:buFont typeface="Calibri"/>
              <a:buNone/>
              <a:defRPr sz="3600" b="1" i="0" u="none" strike="noStrike" cap="none">
                <a:solidFill>
                  <a:srgbClr val="EA0029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36227253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67" b="0" i="0" u="none" strike="noStrike" cap="none">
          <a:solidFill>
            <a:schemeClr val="accent6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45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emf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28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emf"/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.xml"/><Relationship Id="rId4" Type="http://schemas.openxmlformats.org/officeDocument/2006/relationships/image" Target="../media/image60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.xml"/><Relationship Id="rId6" Type="http://schemas.openxmlformats.org/officeDocument/2006/relationships/image" Target="../media/image63.png"/><Relationship Id="rId5" Type="http://schemas.openxmlformats.org/officeDocument/2006/relationships/image" Target="../media/image60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6.xml"/><Relationship Id="rId1" Type="http://schemas.openxmlformats.org/officeDocument/2006/relationships/video" Target="https://www.youtube.com/embed/0hP-g4l4OKk?feature=oembed" TargetMode="External"/><Relationship Id="rId5" Type="http://schemas.openxmlformats.org/officeDocument/2006/relationships/image" Target="../media/image29.jpeg"/><Relationship Id="rId4" Type="http://schemas.openxmlformats.org/officeDocument/2006/relationships/hyperlink" Target="https://www.youtube.com/watch?v=0hP-g4l4OKk" TargetMode="Externa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9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9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9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ureus.com/articles/5246-case-report-of-a-pressure-ulcer-occurring-over-the-nasal-bridge-due-to-a-non-invasive-ventilation-facial-mask" TargetMode="External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E1663E-996E-FD4A-A9E7-EC8F345D06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5970" y="2379096"/>
            <a:ext cx="8819819" cy="1773767"/>
          </a:xfrm>
        </p:spPr>
        <p:txBody>
          <a:bodyPr/>
          <a:lstStyle/>
          <a:p>
            <a:r>
              <a:rPr lang="en-US" sz="3800" dirty="0"/>
              <a:t>NIV </a:t>
            </a:r>
            <a:br>
              <a:rPr lang="en-US" sz="3800" dirty="0"/>
            </a:br>
            <a:endParaRPr lang="en-US" dirty="0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B310039D-90B8-4136-B185-D3E6EF8B06B1}"/>
              </a:ext>
            </a:extLst>
          </p:cNvPr>
          <p:cNvSpPr txBox="1">
            <a:spLocks/>
          </p:cNvSpPr>
          <p:nvPr/>
        </p:nvSpPr>
        <p:spPr>
          <a:xfrm>
            <a:off x="698980" y="4188307"/>
            <a:ext cx="4605073" cy="12723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0583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rgbClr val="A7A9AC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42900" algn="ctr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accent2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ctr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accent2"/>
              </a:buClr>
              <a:buSzPts val="2880"/>
              <a:buFont typeface="Arial"/>
              <a:buNone/>
              <a:defRPr sz="288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ctr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accent2"/>
              </a:buClr>
              <a:buSzPts val="2560"/>
              <a:buFont typeface="Arial"/>
              <a:buNone/>
              <a:defRPr sz="256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ctr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accent2"/>
              </a:buClr>
              <a:buSzPts val="2560"/>
              <a:buFont typeface="Arial"/>
              <a:buNone/>
              <a:defRPr sz="256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411479" algn="ctr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560"/>
              <a:buFont typeface="Arial"/>
              <a:buNone/>
              <a:defRPr sz="256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411479" algn="ctr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560"/>
              <a:buFont typeface="Arial"/>
              <a:buNone/>
              <a:defRPr sz="256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411479" algn="ctr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560"/>
              <a:buFont typeface="Arial"/>
              <a:buNone/>
              <a:defRPr sz="256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411479" algn="ctr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560"/>
              <a:buFont typeface="Arial"/>
              <a:buNone/>
              <a:defRPr sz="256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380985" indent="-285739" defTabSz="761970">
              <a:spcBef>
                <a:spcPts val="1333"/>
              </a:spcBef>
            </a:pPr>
            <a:r>
              <a:rPr lang="en-US" sz="1833" kern="0" dirty="0">
                <a:solidFill>
                  <a:srgbClr val="FFFFFF"/>
                </a:solidFill>
              </a:rPr>
              <a:t>Marie-Louise Bluffield, Sr. Product Specialist</a:t>
            </a:r>
          </a:p>
          <a:p>
            <a:pPr marL="380985" indent="-285739" defTabSz="761970">
              <a:spcBef>
                <a:spcPts val="1333"/>
              </a:spcBef>
            </a:pPr>
            <a:r>
              <a:rPr lang="en-US" sz="1833" kern="0" dirty="0">
                <a:solidFill>
                  <a:srgbClr val="FFFFFF"/>
                </a:solidFill>
              </a:rPr>
              <a:t>Holly Pattie-</a:t>
            </a:r>
            <a:r>
              <a:rPr lang="en-US" sz="1833" kern="0" dirty="0" err="1">
                <a:solidFill>
                  <a:srgbClr val="FFFFFF"/>
                </a:solidFill>
              </a:rPr>
              <a:t>Belleli</a:t>
            </a:r>
            <a:r>
              <a:rPr lang="en-US" sz="1833" kern="0" dirty="0">
                <a:solidFill>
                  <a:srgbClr val="FFFFFF"/>
                </a:solidFill>
              </a:rPr>
              <a:t> Account manager</a:t>
            </a:r>
          </a:p>
          <a:p>
            <a:pPr marL="380985" indent="-285739" defTabSz="761970">
              <a:spcBef>
                <a:spcPts val="1333"/>
              </a:spcBef>
            </a:pPr>
            <a:r>
              <a:rPr lang="en-US" sz="1833" kern="0" dirty="0">
                <a:solidFill>
                  <a:srgbClr val="FFFFFF"/>
                </a:solidFill>
              </a:rPr>
              <a:t>EMEAC</a:t>
            </a:r>
          </a:p>
        </p:txBody>
      </p:sp>
    </p:spTree>
    <p:extLst>
      <p:ext uri="{BB962C8B-B14F-4D97-AF65-F5344CB8AC3E}">
        <p14:creationId xmlns:p14="http://schemas.microsoft.com/office/powerpoint/2010/main" val="58510386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B979F8-DA16-4BD5-9B7A-4F00760551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u="none" dirty="0"/>
              <a:t>What hospital depts use NIV masks?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347A524-F491-48F5-93AD-67A9B8788538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r>
              <a:rPr lang="en-GB" dirty="0"/>
              <a:t>Respiratory Units</a:t>
            </a:r>
          </a:p>
          <a:p>
            <a:endParaRPr lang="en-GB" dirty="0"/>
          </a:p>
          <a:p>
            <a:r>
              <a:rPr lang="en-GB" dirty="0"/>
              <a:t>ICU</a:t>
            </a:r>
          </a:p>
          <a:p>
            <a:endParaRPr lang="en-GB" dirty="0"/>
          </a:p>
          <a:p>
            <a:r>
              <a:rPr lang="en-GB" dirty="0"/>
              <a:t>HDU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775828-CD2F-47A8-A979-80251F397E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7594600"/>
            <a:ext cx="646113" cy="487363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l" defTabSz="609585" rtl="0" eaLnBrk="1" latinLnBrk="0" hangingPunct="1">
              <a:defRPr sz="1600" b="0" i="0" kern="1200">
                <a:solidFill>
                  <a:srgbClr val="72B1D4"/>
                </a:solidFill>
                <a:latin typeface="Arial" charset="0"/>
                <a:ea typeface="Arial" charset="0"/>
                <a:cs typeface="Arial" charset="0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7E6B461-9956-8949-AE00-D6B8EA66FAB3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45058" name="Picture 2" descr="Harbourside Health Centre (2013) | Morriston opens specialist unit for  patients with breathing failure">
            <a:extLst>
              <a:ext uri="{FF2B5EF4-FFF2-40B4-BE49-F238E27FC236}">
                <a16:creationId xmlns:a16="http://schemas.microsoft.com/office/drawing/2014/main" id="{B9279EA4-B398-4314-A00B-F6F98E898C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2957" y="1417639"/>
            <a:ext cx="6090912" cy="45516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257626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B926B3-E7DD-40F9-916B-01979F4E46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keholder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0DEE8A6-8BBE-408A-8269-9F9F8151C80C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GB" dirty="0"/>
              <a:t>ICU – equipment leads, stores, </a:t>
            </a:r>
            <a:r>
              <a:rPr lang="en-GB" dirty="0" err="1"/>
              <a:t>resp</a:t>
            </a:r>
            <a:r>
              <a:rPr lang="en-GB" dirty="0"/>
              <a:t> physios, Matrons, Consultants</a:t>
            </a:r>
          </a:p>
          <a:p>
            <a:r>
              <a:rPr lang="en-GB" dirty="0"/>
              <a:t>RESP Units – </a:t>
            </a:r>
            <a:r>
              <a:rPr lang="en-GB" dirty="0" err="1"/>
              <a:t>resp</a:t>
            </a:r>
            <a:r>
              <a:rPr lang="en-GB" dirty="0"/>
              <a:t> physios, nurses</a:t>
            </a:r>
          </a:p>
          <a:p>
            <a:r>
              <a:rPr lang="en-GB" dirty="0"/>
              <a:t>HDU – matrons, sisters, </a:t>
            </a:r>
            <a:r>
              <a:rPr lang="en-GB" dirty="0" err="1"/>
              <a:t>resp</a:t>
            </a:r>
            <a:r>
              <a:rPr lang="en-GB" dirty="0"/>
              <a:t> physios, nurses</a:t>
            </a:r>
          </a:p>
          <a:p>
            <a:r>
              <a:rPr lang="en-GB" dirty="0"/>
              <a:t>Procurement – clinical and buyers</a:t>
            </a:r>
          </a:p>
          <a:p>
            <a:endParaRPr lang="en-GB" dirty="0"/>
          </a:p>
        </p:txBody>
      </p:sp>
      <p:pic>
        <p:nvPicPr>
          <p:cNvPr id="3076" name="Picture 4" descr="1,429 Stakeholder Illustrations &amp; Clip Art - iStock">
            <a:extLst>
              <a:ext uri="{FF2B5EF4-FFF2-40B4-BE49-F238E27FC236}">
                <a16:creationId xmlns:a16="http://schemas.microsoft.com/office/drawing/2014/main" id="{F2D751EA-3449-445C-B182-F2A2E6F132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0862" y="1958423"/>
            <a:ext cx="4639172" cy="3715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29947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041296-D937-4377-828A-8E67A697B9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u="none" dirty="0"/>
              <a:t>What types of patients require a NIV mask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9F4F287-A296-4E6A-B770-CD2A9356022F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r>
              <a:rPr lang="en-GB" b="1" dirty="0"/>
              <a:t>COPD</a:t>
            </a:r>
            <a:r>
              <a:rPr lang="en-GB" dirty="0"/>
              <a:t> – Chronic Obstructive Pulmonary Disease, lung condition that causes breathing difficulties</a:t>
            </a:r>
          </a:p>
          <a:p>
            <a:endParaRPr lang="en-GB" dirty="0"/>
          </a:p>
          <a:p>
            <a:r>
              <a:rPr lang="en-GB" b="1" dirty="0"/>
              <a:t>Hypercapnic respiratory failure  </a:t>
            </a:r>
            <a:r>
              <a:rPr lang="en-GB" dirty="0"/>
              <a:t>- too much CO2 in the blood and not enough O2 in the blood</a:t>
            </a:r>
          </a:p>
          <a:p>
            <a:endParaRPr lang="en-GB" dirty="0"/>
          </a:p>
          <a:p>
            <a:r>
              <a:rPr lang="en-GB" b="1" dirty="0"/>
              <a:t>Cardiogenic pulmonary oedema </a:t>
            </a:r>
            <a:r>
              <a:rPr lang="en-GB" dirty="0"/>
              <a:t>- excess fluid in the lungs</a:t>
            </a:r>
          </a:p>
          <a:p>
            <a:endParaRPr lang="en-GB" dirty="0"/>
          </a:p>
          <a:p>
            <a:r>
              <a:rPr lang="en-GB" b="1" dirty="0"/>
              <a:t>Weaning from tracheal intubation</a:t>
            </a:r>
          </a:p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64E039-7D75-4F6D-A80E-E63255EA71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7594600"/>
            <a:ext cx="646113" cy="487363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l" defTabSz="609585" rtl="0" eaLnBrk="1" latinLnBrk="0" hangingPunct="1">
              <a:defRPr sz="1600" b="0" i="0" kern="1200">
                <a:solidFill>
                  <a:srgbClr val="72B1D4"/>
                </a:solidFill>
                <a:latin typeface="Arial" charset="0"/>
                <a:ea typeface="Arial" charset="0"/>
                <a:cs typeface="Arial" charset="0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7E6B461-9956-8949-AE00-D6B8EA66FAB3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5" name="Picture 4" descr="Noninvasive Ventilation: Overview, Methods of Delivery, General  Considerations">
            <a:extLst>
              <a:ext uri="{FF2B5EF4-FFF2-40B4-BE49-F238E27FC236}">
                <a16:creationId xmlns:a16="http://schemas.microsoft.com/office/drawing/2014/main" id="{0250DD19-7E3B-4ABA-BDE5-ED1DE80603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3701" y="4052685"/>
            <a:ext cx="2731263" cy="2533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034" name="Picture 2" descr="Noninvasive Ventilation: Overview, Methods of Delivery, General  Considerations">
            <a:extLst>
              <a:ext uri="{FF2B5EF4-FFF2-40B4-BE49-F238E27FC236}">
                <a16:creationId xmlns:a16="http://schemas.microsoft.com/office/drawing/2014/main" id="{B1D42087-09ED-476A-B34D-3DB808F93F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4964" y="2771057"/>
            <a:ext cx="3207036" cy="24052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597252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2E7BDC-FCBD-4E15-BBF1-85C6C88757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u="none" dirty="0"/>
              <a:t>What types of patients don’t require a NIV mask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51A3BB9-1A6E-456E-9F22-82ABC1608D8C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r>
              <a:rPr lang="en-GB" b="1" dirty="0"/>
              <a:t>Impaired consciousness </a:t>
            </a:r>
            <a:r>
              <a:rPr lang="en-GB" dirty="0"/>
              <a:t>– a state where consciousness has been affected by damage to the brain</a:t>
            </a:r>
          </a:p>
          <a:p>
            <a:endParaRPr lang="en-GB" dirty="0"/>
          </a:p>
          <a:p>
            <a:r>
              <a:rPr lang="en-GB" b="1" dirty="0"/>
              <a:t>Severe hypoxaemia </a:t>
            </a:r>
            <a:r>
              <a:rPr lang="en-GB" dirty="0"/>
              <a:t>– really low oxygen levels in the blood </a:t>
            </a:r>
          </a:p>
          <a:p>
            <a:endParaRPr lang="en-GB" dirty="0"/>
          </a:p>
          <a:p>
            <a:r>
              <a:rPr lang="en-GB" dirty="0"/>
              <a:t>Patients with copious </a:t>
            </a:r>
            <a:r>
              <a:rPr lang="en-GB" b="1" dirty="0"/>
              <a:t>respiratory secretions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0D1F009-662E-4C44-84F6-1A7E30FBBD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7594600"/>
            <a:ext cx="646113" cy="487363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l" defTabSz="609585" rtl="0" eaLnBrk="1" latinLnBrk="0" hangingPunct="1">
              <a:defRPr sz="1600" b="0" i="0" kern="1200">
                <a:solidFill>
                  <a:srgbClr val="72B1D4"/>
                </a:solidFill>
                <a:latin typeface="Arial" charset="0"/>
                <a:ea typeface="Arial" charset="0"/>
                <a:cs typeface="Arial" charset="0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7E6B461-9956-8949-AE00-D6B8EA66FAB3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43010" name="Picture 2" descr="COVID-19 NIV: Helmet vs Mask – Critical Care News | News for Critical Care  and ICU Professionals">
            <a:extLst>
              <a:ext uri="{FF2B5EF4-FFF2-40B4-BE49-F238E27FC236}">
                <a16:creationId xmlns:a16="http://schemas.microsoft.com/office/drawing/2014/main" id="{766219BD-FBD0-42EB-9D86-4BEC30083D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1157" y="2249009"/>
            <a:ext cx="3860421" cy="3860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536593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336318-E357-416E-93C5-3FA93F620C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u="none" dirty="0"/>
              <a:t>What are the benefits of using NIV to the NHS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A7B01A-6E72-478D-9CD0-BF3838A5B184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r>
              <a:rPr lang="en-GB" dirty="0"/>
              <a:t>Fewer patients referred to intensive care for intubation</a:t>
            </a:r>
          </a:p>
          <a:p>
            <a:endParaRPr lang="en-GB" dirty="0"/>
          </a:p>
          <a:p>
            <a:r>
              <a:rPr lang="en-GB" dirty="0"/>
              <a:t>Shorter stays on intensive care</a:t>
            </a:r>
          </a:p>
          <a:p>
            <a:endParaRPr lang="en-GB" dirty="0"/>
          </a:p>
          <a:p>
            <a:r>
              <a:rPr lang="en-GB" dirty="0"/>
              <a:t>Fewer deaths of patients with acute respiratory failure</a:t>
            </a:r>
          </a:p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C71302E-4F95-4A55-A120-024BD37060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7594600"/>
            <a:ext cx="646113" cy="487363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l" defTabSz="609585" rtl="0" eaLnBrk="1" latinLnBrk="0" hangingPunct="1">
              <a:defRPr sz="1600" b="0" i="0" kern="1200">
                <a:solidFill>
                  <a:srgbClr val="72B1D4"/>
                </a:solidFill>
                <a:latin typeface="Arial" charset="0"/>
                <a:ea typeface="Arial" charset="0"/>
                <a:cs typeface="Arial" charset="0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7E6B461-9956-8949-AE00-D6B8EA66FAB3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46084" name="Picture 4" descr="Philips 1120925 452299116521 User Manual Product Brochure Respironics AF541  Noninvasive Ventilation (NIV) Mask E34993ef08b04bb8bf77a77c014aec54">
            <a:extLst>
              <a:ext uri="{FF2B5EF4-FFF2-40B4-BE49-F238E27FC236}">
                <a16:creationId xmlns:a16="http://schemas.microsoft.com/office/drawing/2014/main" id="{657A1A95-8EC4-4EE5-998F-5C785C08C2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491" y="3709079"/>
            <a:ext cx="4262305" cy="25703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086" name="Picture 6" descr="Harbourside Health Centre (2013) | Morriston opens specialist unit for  patients with breathing failure">
            <a:extLst>
              <a:ext uri="{FF2B5EF4-FFF2-40B4-BE49-F238E27FC236}">
                <a16:creationId xmlns:a16="http://schemas.microsoft.com/office/drawing/2014/main" id="{25C71362-01C8-43B1-AE11-6925F502E4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491" y="964089"/>
            <a:ext cx="4262305" cy="26320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75700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5A449F8B-1116-4D3A-8289-DD81BA4258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GB" u="none" dirty="0" err="1"/>
              <a:t>Vyaire</a:t>
            </a:r>
            <a:r>
              <a:rPr lang="en-GB" u="none" dirty="0"/>
              <a:t> NIV Masks</a:t>
            </a:r>
          </a:p>
        </p:txBody>
      </p:sp>
      <p:pic>
        <p:nvPicPr>
          <p:cNvPr id="6146" name="Picture 2" descr="AirLife® noninvasive ventilation masks">
            <a:extLst>
              <a:ext uri="{FF2B5EF4-FFF2-40B4-BE49-F238E27FC236}">
                <a16:creationId xmlns:a16="http://schemas.microsoft.com/office/drawing/2014/main" id="{FA3FF741-459D-4A9D-8EC9-7354732DB2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7926" y="2116476"/>
            <a:ext cx="3685093" cy="2284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 descr="AirLife® noninvasive ventilation masks">
            <a:extLst>
              <a:ext uri="{FF2B5EF4-FFF2-40B4-BE49-F238E27FC236}">
                <a16:creationId xmlns:a16="http://schemas.microsoft.com/office/drawing/2014/main" id="{989715C8-BF36-42CC-A4B5-22CC123E00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467" y="2103632"/>
            <a:ext cx="3811822" cy="2284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0" name="Picture 6" descr="NIV Masks &amp; Heated Wire Circuits">
            <a:extLst>
              <a:ext uri="{FF2B5EF4-FFF2-40B4-BE49-F238E27FC236}">
                <a16:creationId xmlns:a16="http://schemas.microsoft.com/office/drawing/2014/main" id="{4730BCBF-671D-4F48-893C-588E4C976D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1656" y="2103633"/>
            <a:ext cx="3811821" cy="2284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741163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"/>
          <p:cNvGraphicFramePr/>
          <p:nvPr/>
        </p:nvGraphicFramePr>
        <p:xfrm>
          <a:off x="1524000" y="1103244"/>
          <a:ext cx="9144000" cy="575475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u="none" dirty="0"/>
              <a:t>Features of the </a:t>
            </a:r>
            <a:r>
              <a:rPr lang="en-GB" u="none" dirty="0" err="1"/>
              <a:t>Vyaire</a:t>
            </a:r>
            <a:r>
              <a:rPr lang="en-GB" u="none" dirty="0"/>
              <a:t> NIV Mask</a:t>
            </a:r>
          </a:p>
        </p:txBody>
      </p:sp>
    </p:spTree>
    <p:extLst>
      <p:ext uri="{BB962C8B-B14F-4D97-AF65-F5344CB8AC3E}">
        <p14:creationId xmlns:p14="http://schemas.microsoft.com/office/powerpoint/2010/main" val="9890956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u="none" dirty="0"/>
              <a:t>External fram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0" y="4824413"/>
            <a:ext cx="182563" cy="2794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b="0" i="0" kern="1200">
                <a:solidFill>
                  <a:srgbClr val="0C1524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>
              <a:spcBef>
                <a:spcPts val="130"/>
              </a:spcBef>
            </a:pPr>
            <a:r>
              <a:rPr lang="en-GB" spc="10"/>
              <a:t>10</a:t>
            </a:r>
          </a:p>
          <a:p>
            <a:pPr marL="38100">
              <a:spcBef>
                <a:spcPts val="30"/>
              </a:spcBef>
            </a:pPr>
            <a:fld id="{81D60167-4931-47E6-BA6A-407CBD079E47}" type="slidenum">
              <a:rPr spc="15" smtClean="0"/>
              <a:pPr marL="38100">
                <a:spcBef>
                  <a:spcPts val="30"/>
                </a:spcBef>
              </a:pPr>
              <a:t>17</a:t>
            </a:fld>
            <a:endParaRPr lang="en-US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42" r="11116"/>
          <a:stretch/>
        </p:blipFill>
        <p:spPr bwMode="auto">
          <a:xfrm>
            <a:off x="3273681" y="2208455"/>
            <a:ext cx="2145423" cy="2025000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dist="35921" dir="2700000" algn="ctr" rotWithShape="0">
              <a:schemeClr val="bg2"/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582167" y="1912747"/>
            <a:ext cx="2066307" cy="300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351" dirty="0"/>
              <a:t>External Frame</a:t>
            </a:r>
          </a:p>
        </p:txBody>
      </p:sp>
      <p:cxnSp>
        <p:nvCxnSpPr>
          <p:cNvPr id="7" name="Straight Connector 6"/>
          <p:cNvCxnSpPr/>
          <p:nvPr/>
        </p:nvCxnSpPr>
        <p:spPr>
          <a:xfrm flipH="1">
            <a:off x="4240691" y="2063631"/>
            <a:ext cx="1178404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 flipH="1">
            <a:off x="4240693" y="2063629"/>
            <a:ext cx="1" cy="480691"/>
          </a:xfrm>
          <a:prstGeom prst="line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3187433" y="4482973"/>
            <a:ext cx="5491451" cy="7159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351" dirty="0"/>
              <a:t>No part of the frame is directly connected with the inner mask, preventing pressure points by evenly distributing the pressure around the patients face.</a:t>
            </a:r>
            <a:endParaRPr lang="en-GB" sz="1351" dirty="0"/>
          </a:p>
        </p:txBody>
      </p:sp>
    </p:spTree>
    <p:extLst>
      <p:ext uri="{BB962C8B-B14F-4D97-AF65-F5344CB8AC3E}">
        <p14:creationId xmlns:p14="http://schemas.microsoft.com/office/powerpoint/2010/main" val="21831286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u="none" dirty="0"/>
              <a:t>Flexible elbo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0" y="4824413"/>
            <a:ext cx="182563" cy="2794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b="0" i="0" kern="1200">
                <a:solidFill>
                  <a:srgbClr val="0C1524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>
              <a:spcBef>
                <a:spcPts val="130"/>
              </a:spcBef>
            </a:pPr>
            <a:r>
              <a:rPr lang="en-GB" spc="10"/>
              <a:t>10</a:t>
            </a:r>
          </a:p>
          <a:p>
            <a:pPr marL="38100">
              <a:spcBef>
                <a:spcPts val="30"/>
              </a:spcBef>
            </a:pPr>
            <a:fld id="{81D60167-4931-47E6-BA6A-407CBD079E47}" type="slidenum">
              <a:rPr spc="15" smtClean="0"/>
              <a:pPr marL="38100">
                <a:spcBef>
                  <a:spcPts val="30"/>
                </a:spcBef>
              </a:pPr>
              <a:t>18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3436811" y="5050049"/>
            <a:ext cx="5206444" cy="7159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351" dirty="0"/>
              <a:t>The flexible swivel elbow of the </a:t>
            </a:r>
            <a:r>
              <a:rPr lang="en-US" sz="1351" dirty="0" err="1"/>
              <a:t>AirLife</a:t>
            </a:r>
            <a:r>
              <a:rPr lang="en-US" sz="1351" dirty="0"/>
              <a:t> NIV mask reduces the torque applied to the seal between the mask and patient, helping to </a:t>
            </a:r>
            <a:r>
              <a:rPr lang="en-US" sz="1351" dirty="0" err="1"/>
              <a:t>minimise</a:t>
            </a:r>
            <a:r>
              <a:rPr lang="en-US" sz="1351" dirty="0"/>
              <a:t> pressure points.</a:t>
            </a:r>
            <a:endParaRPr lang="en-GB" sz="1351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FC40227-01D5-4EBD-A3B1-53486002E6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81351" y="1600307"/>
            <a:ext cx="5829300" cy="3267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34508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u="none" dirty="0"/>
              <a:t>Large soft adjustable forehead pa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0" y="4824413"/>
            <a:ext cx="182563" cy="2794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b="0" i="0" kern="1200">
                <a:solidFill>
                  <a:srgbClr val="0C1524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>
              <a:spcBef>
                <a:spcPts val="130"/>
              </a:spcBef>
            </a:pPr>
            <a:r>
              <a:rPr lang="en-GB" spc="10"/>
              <a:t>10</a:t>
            </a:r>
          </a:p>
          <a:p>
            <a:pPr marL="38100">
              <a:spcBef>
                <a:spcPts val="30"/>
              </a:spcBef>
            </a:pPr>
            <a:fld id="{81D60167-4931-47E6-BA6A-407CBD079E47}" type="slidenum">
              <a:rPr spc="15" smtClean="0"/>
              <a:pPr marL="38100">
                <a:spcBef>
                  <a:spcPts val="30"/>
                </a:spcBef>
              </a:pPr>
              <a:t>19</a:t>
            </a:fld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91" t="1046" r="29588" b="-1046"/>
          <a:stretch/>
        </p:blipFill>
        <p:spPr>
          <a:xfrm>
            <a:off x="3223393" y="2051247"/>
            <a:ext cx="2213264" cy="2036231"/>
          </a:xfrm>
          <a:prstGeom prst="ellipse">
            <a:avLst/>
          </a:prstGeom>
          <a:ln w="63500" cap="rnd">
            <a:solidFill>
              <a:srgbClr val="333333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6" name="TextBox 5"/>
          <p:cNvSpPr txBox="1"/>
          <p:nvPr/>
        </p:nvSpPr>
        <p:spPr>
          <a:xfrm>
            <a:off x="3169662" y="4396336"/>
            <a:ext cx="6346546" cy="5080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51" dirty="0"/>
              <a:t>Adjustable forehead rest helps achieve an optimum fit to the patients face.</a:t>
            </a:r>
          </a:p>
          <a:p>
            <a:r>
              <a:rPr lang="en-US" sz="1351" dirty="0"/>
              <a:t>Combined with the large soft forehead pad providing added comfort and stability.</a:t>
            </a:r>
            <a:endParaRPr lang="en-GB" sz="1351" dirty="0"/>
          </a:p>
        </p:txBody>
      </p:sp>
      <p:sp>
        <p:nvSpPr>
          <p:cNvPr id="12" name="TextBox 11"/>
          <p:cNvSpPr txBox="1"/>
          <p:nvPr/>
        </p:nvSpPr>
        <p:spPr>
          <a:xfrm>
            <a:off x="6378715" y="1912747"/>
            <a:ext cx="2066307" cy="300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351" dirty="0"/>
              <a:t>Large soft forehead pad</a:t>
            </a:r>
          </a:p>
        </p:txBody>
      </p:sp>
      <p:cxnSp>
        <p:nvCxnSpPr>
          <p:cNvPr id="13" name="Straight Connector 12"/>
          <p:cNvCxnSpPr/>
          <p:nvPr/>
        </p:nvCxnSpPr>
        <p:spPr>
          <a:xfrm flipH="1">
            <a:off x="5028333" y="2072536"/>
            <a:ext cx="1178404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 flipH="1">
            <a:off x="5028334" y="2063629"/>
            <a:ext cx="1" cy="480691"/>
          </a:xfrm>
          <a:prstGeom prst="line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H="1">
            <a:off x="4012881" y="4087476"/>
            <a:ext cx="1178404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 flipH="1" flipV="1">
            <a:off x="4020417" y="3606785"/>
            <a:ext cx="1" cy="480691"/>
          </a:xfrm>
          <a:prstGeom prst="line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5292181" y="3948976"/>
            <a:ext cx="2066307" cy="300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351" dirty="0"/>
              <a:t>Adjustable pivot</a:t>
            </a:r>
          </a:p>
        </p:txBody>
      </p:sp>
    </p:spTree>
    <p:extLst>
      <p:ext uri="{BB962C8B-B14F-4D97-AF65-F5344CB8AC3E}">
        <p14:creationId xmlns:p14="http://schemas.microsoft.com/office/powerpoint/2010/main" val="10619781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3D556093-267A-4A3C-8C0A-21B4E5B4D7C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5" name="Content Placeholder 8">
            <a:extLst>
              <a:ext uri="{FF2B5EF4-FFF2-40B4-BE49-F238E27FC236}">
                <a16:creationId xmlns:a16="http://schemas.microsoft.com/office/drawing/2014/main" id="{FE45F12F-590A-4B5D-973F-473BA63A25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4839" y="2445936"/>
            <a:ext cx="5705585" cy="4079614"/>
          </a:xfrm>
          <a:prstGeom prst="rect">
            <a:avLst/>
          </a:prstGeom>
        </p:spPr>
      </p:pic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489EA7E4-9288-4B50-896B-DACFFD1A885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17281547"/>
              </p:ext>
            </p:extLst>
          </p:nvPr>
        </p:nvGraphicFramePr>
        <p:xfrm>
          <a:off x="362474" y="2343774"/>
          <a:ext cx="5614689" cy="41817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8253FEA6-15C9-40E5-854C-6CB0281947B2}"/>
              </a:ext>
            </a:extLst>
          </p:cNvPr>
          <p:cNvSpPr txBox="1"/>
          <p:nvPr/>
        </p:nvSpPr>
        <p:spPr>
          <a:xfrm>
            <a:off x="562769" y="1820554"/>
            <a:ext cx="308034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rategy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4501E33-8CA7-43D4-894B-903E9C36A1AE}"/>
              </a:ext>
            </a:extLst>
          </p:cNvPr>
          <p:cNvSpPr txBox="1"/>
          <p:nvPr/>
        </p:nvSpPr>
        <p:spPr>
          <a:xfrm>
            <a:off x="6104513" y="1922716"/>
            <a:ext cx="488874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eatures and clinical benefits</a:t>
            </a:r>
          </a:p>
        </p:txBody>
      </p:sp>
    </p:spTree>
    <p:extLst>
      <p:ext uri="{BB962C8B-B14F-4D97-AF65-F5344CB8AC3E}">
        <p14:creationId xmlns:p14="http://schemas.microsoft.com/office/powerpoint/2010/main" val="73937819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u="none" dirty="0"/>
              <a:t>Soft se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0" y="4824413"/>
            <a:ext cx="182563" cy="2794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b="0" i="0" kern="1200">
                <a:solidFill>
                  <a:srgbClr val="0C1524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>
              <a:spcBef>
                <a:spcPts val="130"/>
              </a:spcBef>
            </a:pPr>
            <a:r>
              <a:rPr lang="en-GB" spc="10"/>
              <a:t>10</a:t>
            </a:r>
          </a:p>
          <a:p>
            <a:pPr marL="38100">
              <a:spcBef>
                <a:spcPts val="30"/>
              </a:spcBef>
            </a:pPr>
            <a:fld id="{81D60167-4931-47E6-BA6A-407CBD079E47}" type="slidenum">
              <a:rPr spc="15" smtClean="0"/>
              <a:pPr marL="38100">
                <a:spcBef>
                  <a:spcPts val="30"/>
                </a:spcBef>
              </a:pPr>
              <a:t>20</a:t>
            </a:fld>
            <a:endParaRPr lang="en-US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1194"/>
          <a:stretch/>
        </p:blipFill>
        <p:spPr bwMode="auto">
          <a:xfrm>
            <a:off x="3298763" y="2088219"/>
            <a:ext cx="2253344" cy="2025000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dist="35921" dir="2700000" algn="ctr" rotWithShape="0">
              <a:schemeClr val="bg2"/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3329936" y="4240598"/>
            <a:ext cx="4725552" cy="7159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351" dirty="0"/>
              <a:t>The lightweight silicone design contours to the patient’s face, providing both a low pressure seal and a comfortable fit.</a:t>
            </a:r>
            <a:endParaRPr lang="en-GB" sz="1351" dirty="0"/>
          </a:p>
        </p:txBody>
      </p:sp>
      <p:sp>
        <p:nvSpPr>
          <p:cNvPr id="8" name="TextBox 7"/>
          <p:cNvSpPr txBox="1"/>
          <p:nvPr/>
        </p:nvSpPr>
        <p:spPr>
          <a:xfrm>
            <a:off x="6116561" y="2138888"/>
            <a:ext cx="2066307" cy="300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351" dirty="0"/>
              <a:t>Soft Silicone Cuff</a:t>
            </a:r>
          </a:p>
        </p:txBody>
      </p:sp>
      <p:cxnSp>
        <p:nvCxnSpPr>
          <p:cNvPr id="23" name="Straight Connector 22"/>
          <p:cNvCxnSpPr>
            <a:stCxn id="8" idx="1"/>
          </p:cNvCxnSpPr>
          <p:nvPr/>
        </p:nvCxnSpPr>
        <p:spPr>
          <a:xfrm flipH="1" flipV="1">
            <a:off x="4938160" y="2277392"/>
            <a:ext cx="1178401" cy="11601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4938156" y="2277390"/>
            <a:ext cx="0" cy="432413"/>
          </a:xfrm>
          <a:prstGeom prst="line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327251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u="none" dirty="0"/>
              <a:t>Four point head gea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0" y="4824413"/>
            <a:ext cx="182563" cy="2794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b="0" i="0" kern="1200">
                <a:solidFill>
                  <a:srgbClr val="0C1524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>
              <a:spcBef>
                <a:spcPts val="130"/>
              </a:spcBef>
            </a:pPr>
            <a:r>
              <a:rPr lang="en-GB" spc="10"/>
              <a:t>10</a:t>
            </a:r>
          </a:p>
          <a:p>
            <a:pPr marL="38100">
              <a:spcBef>
                <a:spcPts val="30"/>
              </a:spcBef>
            </a:pPr>
            <a:fld id="{81D60167-4931-47E6-BA6A-407CBD079E47}" type="slidenum">
              <a:rPr spc="15" smtClean="0"/>
              <a:pPr marL="38100">
                <a:spcBef>
                  <a:spcPts val="30"/>
                </a:spcBef>
              </a:pPr>
              <a:t>21</a:t>
            </a:fld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75" t="13573" r="5089" b="6537"/>
          <a:stretch/>
        </p:blipFill>
        <p:spPr>
          <a:xfrm>
            <a:off x="3290857" y="2170583"/>
            <a:ext cx="2013395" cy="1884099"/>
          </a:xfrm>
          <a:prstGeom prst="ellipse">
            <a:avLst/>
          </a:prstGeom>
          <a:ln w="63500" cap="rnd">
            <a:solidFill>
              <a:srgbClr val="333333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7" name="Rectangle 6"/>
          <p:cNvSpPr/>
          <p:nvPr/>
        </p:nvSpPr>
        <p:spPr>
          <a:xfrm>
            <a:off x="3249775" y="4296605"/>
            <a:ext cx="5206444" cy="7159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351" dirty="0"/>
              <a:t>The four point head gear provides an even distribution of pressure around the back of the head aiding a good fit with low pressure on the patients face.</a:t>
            </a:r>
            <a:endParaRPr lang="en-GB" sz="1351" dirty="0"/>
          </a:p>
        </p:txBody>
      </p:sp>
      <p:cxnSp>
        <p:nvCxnSpPr>
          <p:cNvPr id="10" name="Straight Arrow Connector 9"/>
          <p:cNvCxnSpPr/>
          <p:nvPr/>
        </p:nvCxnSpPr>
        <p:spPr>
          <a:xfrm flipH="1" flipV="1">
            <a:off x="4533909" y="2558393"/>
            <a:ext cx="1493763" cy="400793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 flipH="1" flipV="1">
            <a:off x="3892642" y="2558393"/>
            <a:ext cx="2135031" cy="400793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3892642" y="2959185"/>
            <a:ext cx="2135031" cy="64126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>
            <a:off x="4703133" y="2959185"/>
            <a:ext cx="1324539" cy="64126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6027672" y="2815437"/>
            <a:ext cx="1531188" cy="3002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351" dirty="0"/>
              <a:t>4 point head gear</a:t>
            </a:r>
          </a:p>
        </p:txBody>
      </p:sp>
    </p:spTree>
    <p:extLst>
      <p:ext uri="{BB962C8B-B14F-4D97-AF65-F5344CB8AC3E}">
        <p14:creationId xmlns:p14="http://schemas.microsoft.com/office/powerpoint/2010/main" val="20921117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Quick clip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0" y="4824413"/>
            <a:ext cx="182563" cy="2794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b="0" i="0" kern="1200">
                <a:solidFill>
                  <a:srgbClr val="0C1524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>
              <a:spcBef>
                <a:spcPts val="130"/>
              </a:spcBef>
            </a:pPr>
            <a:r>
              <a:rPr lang="en-GB" spc="10"/>
              <a:t>10</a:t>
            </a:r>
          </a:p>
          <a:p>
            <a:pPr marL="38100">
              <a:spcBef>
                <a:spcPts val="30"/>
              </a:spcBef>
            </a:pPr>
            <a:fld id="{81D60167-4931-47E6-BA6A-407CBD079E47}" type="slidenum">
              <a:rPr spc="15" smtClean="0"/>
              <a:pPr marL="38100">
                <a:spcBef>
                  <a:spcPts val="30"/>
                </a:spcBef>
              </a:pPr>
              <a:t>22</a:t>
            </a:fld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03" r="15808"/>
          <a:stretch/>
        </p:blipFill>
        <p:spPr>
          <a:xfrm>
            <a:off x="3459681" y="2070546"/>
            <a:ext cx="1968335" cy="1874383"/>
          </a:xfrm>
          <a:prstGeom prst="ellipse">
            <a:avLst/>
          </a:prstGeom>
          <a:ln w="63500" cap="rnd">
            <a:solidFill>
              <a:srgbClr val="333333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6" name="TextBox 5"/>
          <p:cNvSpPr txBox="1"/>
          <p:nvPr/>
        </p:nvSpPr>
        <p:spPr>
          <a:xfrm>
            <a:off x="3541603" y="4252826"/>
            <a:ext cx="5415149" cy="7159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51" dirty="0"/>
              <a:t>After careful initial fitting of the mask the quick release clip eliminates the need to </a:t>
            </a:r>
            <a:r>
              <a:rPr lang="en-GB" sz="1351" dirty="0"/>
              <a:t>refit after removal, helping reduce the chance of overtightening.</a:t>
            </a:r>
          </a:p>
        </p:txBody>
      </p:sp>
      <p:cxnSp>
        <p:nvCxnSpPr>
          <p:cNvPr id="8" name="Straight Connector 7"/>
          <p:cNvCxnSpPr/>
          <p:nvPr/>
        </p:nvCxnSpPr>
        <p:spPr>
          <a:xfrm flipH="1">
            <a:off x="4351703" y="2464421"/>
            <a:ext cx="1557263" cy="890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4351701" y="2464421"/>
            <a:ext cx="0" cy="480691"/>
          </a:xfrm>
          <a:prstGeom prst="line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5908966" y="2325923"/>
            <a:ext cx="1704313" cy="3002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351" dirty="0"/>
              <a:t>Quick Release Clip </a:t>
            </a:r>
          </a:p>
        </p:txBody>
      </p:sp>
    </p:spTree>
    <p:extLst>
      <p:ext uri="{BB962C8B-B14F-4D97-AF65-F5344CB8AC3E}">
        <p14:creationId xmlns:p14="http://schemas.microsoft.com/office/powerpoint/2010/main" val="23820801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u="none" dirty="0"/>
              <a:t>No DEHP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0" y="4824413"/>
            <a:ext cx="182563" cy="2794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b="0" i="0" kern="1200">
                <a:solidFill>
                  <a:srgbClr val="0C1524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>
              <a:spcBef>
                <a:spcPts val="130"/>
              </a:spcBef>
            </a:pPr>
            <a:r>
              <a:rPr lang="en-GB" spc="10"/>
              <a:t>10</a:t>
            </a:r>
          </a:p>
          <a:p>
            <a:pPr marL="38100">
              <a:spcBef>
                <a:spcPts val="30"/>
              </a:spcBef>
            </a:pPr>
            <a:fld id="{81D60167-4931-47E6-BA6A-407CBD079E47}" type="slidenum">
              <a:rPr spc="15" smtClean="0"/>
              <a:pPr marL="38100">
                <a:spcBef>
                  <a:spcPts val="30"/>
                </a:spcBef>
              </a:pPr>
              <a:t>23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3009901" y="4876087"/>
            <a:ext cx="6007431" cy="2192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825" dirty="0"/>
              <a:t>https://ec.europa.eu/health/scientific_committees/emerging/docs/scenihr_o_047.pdf</a:t>
            </a:r>
          </a:p>
        </p:txBody>
      </p:sp>
      <p:pic>
        <p:nvPicPr>
          <p:cNvPr id="12292" name="Picture 4" descr="Image result for dehp free symbol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269" t="-5316" r="-5713" b="-2689"/>
          <a:stretch/>
        </p:blipFill>
        <p:spPr bwMode="auto">
          <a:xfrm>
            <a:off x="3368754" y="1920482"/>
            <a:ext cx="1986148" cy="1968335"/>
          </a:xfrm>
          <a:prstGeom prst="ellipse">
            <a:avLst/>
          </a:prstGeom>
          <a:ln w="63500" cap="rnd">
            <a:solidFill>
              <a:srgbClr val="333333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3306042" y="4106099"/>
            <a:ext cx="5415149" cy="7159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351" dirty="0"/>
              <a:t>DEHP has been shown to be a potential carcinogen with links to possible effects on reproductive health in animal studies. The </a:t>
            </a:r>
            <a:r>
              <a:rPr lang="en-GB" sz="1351" dirty="0" err="1"/>
              <a:t>AirLife</a:t>
            </a:r>
            <a:r>
              <a:rPr lang="en-GB" sz="1351" dirty="0"/>
              <a:t> NIV mask is not made with DEHP.</a:t>
            </a:r>
          </a:p>
        </p:txBody>
      </p:sp>
    </p:spTree>
    <p:extLst>
      <p:ext uri="{BB962C8B-B14F-4D97-AF65-F5344CB8AC3E}">
        <p14:creationId xmlns:p14="http://schemas.microsoft.com/office/powerpoint/2010/main" val="26406284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8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668193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4" name="Object 3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68193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Flowchart: Decision 55"/>
          <p:cNvSpPr/>
          <p:nvPr/>
        </p:nvSpPr>
        <p:spPr>
          <a:xfrm>
            <a:off x="6010197" y="3105201"/>
            <a:ext cx="1734294" cy="1071561"/>
          </a:xfrm>
          <a:prstGeom prst="flowChartDecision">
            <a:avLst/>
          </a:prstGeom>
          <a:solidFill>
            <a:srgbClr val="00206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751" b="1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u="none" dirty="0"/>
              <a:t>NIV Mask Decision Tre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4824413"/>
            <a:ext cx="182563" cy="2794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b="0" i="0" kern="1200">
                <a:solidFill>
                  <a:srgbClr val="0C1524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>
              <a:spcBef>
                <a:spcPts val="130"/>
              </a:spcBef>
            </a:pPr>
            <a:r>
              <a:rPr lang="en-GB" spc="10"/>
              <a:t>10</a:t>
            </a:r>
          </a:p>
          <a:p>
            <a:pPr marL="38100">
              <a:spcBef>
                <a:spcPts val="30"/>
              </a:spcBef>
            </a:pPr>
            <a:fld id="{81D60167-4931-47E6-BA6A-407CBD079E47}" type="slidenum">
              <a:rPr spc="15" smtClean="0"/>
              <a:pPr marL="38100">
                <a:spcBef>
                  <a:spcPts val="30"/>
                </a:spcBef>
              </a:pPr>
              <a:t>24</a:t>
            </a:fld>
            <a:endParaRPr lang="en-US"/>
          </a:p>
        </p:txBody>
      </p:sp>
      <p:sp>
        <p:nvSpPr>
          <p:cNvPr id="4" name="Flowchart: Decision 3"/>
          <p:cNvSpPr/>
          <p:nvPr/>
        </p:nvSpPr>
        <p:spPr>
          <a:xfrm>
            <a:off x="4624389" y="1259840"/>
            <a:ext cx="2051114" cy="1325011"/>
          </a:xfrm>
          <a:prstGeom prst="flowChartDecision">
            <a:avLst/>
          </a:prstGeom>
          <a:solidFill>
            <a:srgbClr val="00206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751" b="1" dirty="0">
              <a:solidFill>
                <a:schemeClr val="bg1"/>
              </a:solidFill>
            </a:endParaRPr>
          </a:p>
        </p:txBody>
      </p:sp>
      <p:sp>
        <p:nvSpPr>
          <p:cNvPr id="7" name="Flowchart: Terminator 6"/>
          <p:cNvSpPr/>
          <p:nvPr/>
        </p:nvSpPr>
        <p:spPr>
          <a:xfrm>
            <a:off x="2974295" y="3105201"/>
            <a:ext cx="1473216" cy="875784"/>
          </a:xfrm>
          <a:prstGeom prst="flowChartTerminator">
            <a:avLst/>
          </a:prstGeom>
          <a:solidFill>
            <a:srgbClr val="002060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751" b="1" dirty="0">
                <a:solidFill>
                  <a:schemeClr val="bg1"/>
                </a:solidFill>
              </a:rPr>
              <a:t>Offer </a:t>
            </a:r>
          </a:p>
          <a:p>
            <a:pPr algn="ctr"/>
            <a:r>
              <a:rPr lang="en-GB" sz="751" b="1" dirty="0">
                <a:solidFill>
                  <a:schemeClr val="bg1"/>
                </a:solidFill>
              </a:rPr>
              <a:t>NIV 041 Mask</a:t>
            </a:r>
          </a:p>
          <a:p>
            <a:pPr algn="ctr"/>
            <a:r>
              <a:rPr lang="en-GB" sz="751" b="1" dirty="0">
                <a:solidFill>
                  <a:schemeClr val="bg1"/>
                </a:solidFill>
              </a:rPr>
              <a:t>Dark Blue </a:t>
            </a:r>
          </a:p>
        </p:txBody>
      </p:sp>
      <p:cxnSp>
        <p:nvCxnSpPr>
          <p:cNvPr id="9" name="Elbow Connector 8"/>
          <p:cNvCxnSpPr>
            <a:cxnSpLocks/>
            <a:stCxn id="4" idx="2"/>
            <a:endCxn id="7" idx="0"/>
          </p:cNvCxnSpPr>
          <p:nvPr/>
        </p:nvCxnSpPr>
        <p:spPr>
          <a:xfrm rot="5400000">
            <a:off x="4420250" y="1875505"/>
            <a:ext cx="520350" cy="1939043"/>
          </a:xfrm>
          <a:prstGeom prst="bentConnector3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4139636" y="2564529"/>
            <a:ext cx="692588" cy="213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88" b="1" dirty="0"/>
              <a:t>Ye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775306" y="2822370"/>
            <a:ext cx="898241" cy="213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88" b="1" dirty="0"/>
              <a:t>No</a:t>
            </a:r>
          </a:p>
        </p:txBody>
      </p:sp>
      <p:sp>
        <p:nvSpPr>
          <p:cNvPr id="30" name="Rectangle 29"/>
          <p:cNvSpPr/>
          <p:nvPr/>
        </p:nvSpPr>
        <p:spPr>
          <a:xfrm>
            <a:off x="6356877" y="3363721"/>
            <a:ext cx="1073752" cy="4560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788" b="1" dirty="0">
                <a:solidFill>
                  <a:schemeClr val="bg1"/>
                </a:solidFill>
              </a:rPr>
              <a:t>Does their 1 limb circuit have an exhalation port?</a:t>
            </a:r>
          </a:p>
        </p:txBody>
      </p:sp>
      <p:cxnSp>
        <p:nvCxnSpPr>
          <p:cNvPr id="36" name="Elbow Connector 35"/>
          <p:cNvCxnSpPr>
            <a:cxnSpLocks/>
            <a:stCxn id="4" idx="2"/>
          </p:cNvCxnSpPr>
          <p:nvPr/>
        </p:nvCxnSpPr>
        <p:spPr>
          <a:xfrm rot="16200000" flipH="1">
            <a:off x="5901573" y="2333224"/>
            <a:ext cx="520348" cy="1023602"/>
          </a:xfrm>
          <a:prstGeom prst="bentConnector2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Flowchart: Terminator 36"/>
          <p:cNvSpPr/>
          <p:nvPr/>
        </p:nvSpPr>
        <p:spPr>
          <a:xfrm>
            <a:off x="4507087" y="4413077"/>
            <a:ext cx="1305925" cy="690736"/>
          </a:xfrm>
          <a:prstGeom prst="flowChartTerminator">
            <a:avLst/>
          </a:prstGeom>
          <a:solidFill>
            <a:srgbClr val="002060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751" b="1" dirty="0">
                <a:solidFill>
                  <a:schemeClr val="bg1"/>
                </a:solidFill>
              </a:rPr>
              <a:t>Offer </a:t>
            </a:r>
          </a:p>
          <a:p>
            <a:pPr algn="ctr"/>
            <a:r>
              <a:rPr lang="en-GB" sz="751" b="1" dirty="0">
                <a:solidFill>
                  <a:schemeClr val="bg1"/>
                </a:solidFill>
              </a:rPr>
              <a:t>NIV 043 Mask</a:t>
            </a:r>
          </a:p>
          <a:p>
            <a:pPr algn="ctr"/>
            <a:r>
              <a:rPr lang="en-GB" sz="751" b="1" dirty="0">
                <a:solidFill>
                  <a:schemeClr val="bg1"/>
                </a:solidFill>
              </a:rPr>
              <a:t>Light Blue </a:t>
            </a:r>
          </a:p>
        </p:txBody>
      </p:sp>
      <p:cxnSp>
        <p:nvCxnSpPr>
          <p:cNvPr id="39" name="Elbow Connector 38"/>
          <p:cNvCxnSpPr>
            <a:cxnSpLocks/>
            <a:stCxn id="56" idx="2"/>
            <a:endCxn id="37" idx="0"/>
          </p:cNvCxnSpPr>
          <p:nvPr/>
        </p:nvCxnSpPr>
        <p:spPr>
          <a:xfrm rot="5400000">
            <a:off x="5900540" y="3436272"/>
            <a:ext cx="236315" cy="1717294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6285193" y="4040420"/>
            <a:ext cx="359394" cy="213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88" dirty="0"/>
              <a:t>Yes</a:t>
            </a:r>
          </a:p>
        </p:txBody>
      </p:sp>
      <p:sp>
        <p:nvSpPr>
          <p:cNvPr id="42" name="Flowchart: Terminator 41"/>
          <p:cNvSpPr/>
          <p:nvPr/>
        </p:nvSpPr>
        <p:spPr>
          <a:xfrm>
            <a:off x="8669630" y="4192602"/>
            <a:ext cx="1717295" cy="771511"/>
          </a:xfrm>
          <a:prstGeom prst="flowChartTerminator">
            <a:avLst/>
          </a:prstGeom>
          <a:solidFill>
            <a:srgbClr val="002060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751" b="1" dirty="0">
                <a:solidFill>
                  <a:schemeClr val="bg1"/>
                </a:solidFill>
              </a:rPr>
              <a:t>Offer </a:t>
            </a:r>
          </a:p>
          <a:p>
            <a:pPr algn="ctr"/>
            <a:r>
              <a:rPr lang="en-GB" sz="751" b="1" dirty="0">
                <a:solidFill>
                  <a:schemeClr val="bg1"/>
                </a:solidFill>
              </a:rPr>
              <a:t>NIV 040 Mask</a:t>
            </a:r>
          </a:p>
          <a:p>
            <a:pPr algn="ctr"/>
            <a:r>
              <a:rPr lang="en-GB" sz="751" b="1" dirty="0">
                <a:solidFill>
                  <a:schemeClr val="bg1"/>
                </a:solidFill>
              </a:rPr>
              <a:t>Clear </a:t>
            </a:r>
          </a:p>
        </p:txBody>
      </p:sp>
      <p:cxnSp>
        <p:nvCxnSpPr>
          <p:cNvPr id="44" name="Elbow Connector 43"/>
          <p:cNvCxnSpPr>
            <a:cxnSpLocks/>
          </p:cNvCxnSpPr>
          <p:nvPr/>
        </p:nvCxnSpPr>
        <p:spPr>
          <a:xfrm>
            <a:off x="6905617" y="4176761"/>
            <a:ext cx="1764013" cy="504089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7326002" y="3951370"/>
            <a:ext cx="74644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 b="1" dirty="0"/>
              <a:t>No</a:t>
            </a:r>
          </a:p>
        </p:txBody>
      </p:sp>
      <p:sp>
        <p:nvSpPr>
          <p:cNvPr id="55" name="Rectangle 54"/>
          <p:cNvSpPr/>
          <p:nvPr/>
        </p:nvSpPr>
        <p:spPr>
          <a:xfrm>
            <a:off x="4832224" y="1727541"/>
            <a:ext cx="172416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GB" sz="1000" b="1" dirty="0">
                <a:solidFill>
                  <a:schemeClr val="bg1"/>
                </a:solidFill>
              </a:rPr>
              <a:t>Does the customer have a 2 tube Ventilator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094135" y="4015050"/>
            <a:ext cx="1102565" cy="3234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751" dirty="0"/>
              <a:t>(No Valve in Mask as it is in the Vent)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3924262" y="5063357"/>
            <a:ext cx="2471573" cy="207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751" dirty="0"/>
              <a:t>(</a:t>
            </a:r>
            <a:r>
              <a:rPr lang="en-GB" sz="751" b="1" dirty="0"/>
              <a:t>No</a:t>
            </a:r>
            <a:r>
              <a:rPr lang="en-GB" sz="751" dirty="0"/>
              <a:t> holes  in Mask as it</a:t>
            </a:r>
            <a:r>
              <a:rPr lang="en-GB" sz="751" b="1" dirty="0"/>
              <a:t> is </a:t>
            </a:r>
            <a:r>
              <a:rPr lang="en-GB" sz="751" dirty="0"/>
              <a:t>in the tube)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976994" y="4942102"/>
            <a:ext cx="1102565" cy="3234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751" dirty="0"/>
              <a:t>(Holes  in Mask as it is </a:t>
            </a:r>
            <a:r>
              <a:rPr lang="en-GB" sz="751" b="1" dirty="0"/>
              <a:t>not</a:t>
            </a:r>
            <a:r>
              <a:rPr lang="en-GB" sz="751" dirty="0"/>
              <a:t> in the tube)</a:t>
            </a:r>
          </a:p>
        </p:txBody>
      </p:sp>
    </p:spTree>
    <p:extLst>
      <p:ext uri="{BB962C8B-B14F-4D97-AF65-F5344CB8AC3E}">
        <p14:creationId xmlns:p14="http://schemas.microsoft.com/office/powerpoint/2010/main" val="12862468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/>
          <p:cNvSpPr txBox="1">
            <a:spLocks/>
          </p:cNvSpPr>
          <p:nvPr/>
        </p:nvSpPr>
        <p:spPr>
          <a:xfrm>
            <a:off x="4598059" y="5629708"/>
            <a:ext cx="3698219" cy="221933"/>
          </a:xfrm>
          <a:prstGeom prst="rect">
            <a:avLst/>
          </a:prstGeom>
        </p:spPr>
        <p:txBody>
          <a:bodyPr vert="horz" lIns="68580" tIns="34291" rIns="68580" bIns="34291" rtlCol="0" anchor="ctr"/>
          <a:lstStyle>
            <a:lvl1pPr algn="ctr">
              <a:defRPr/>
            </a:lvl1pPr>
          </a:lstStyle>
          <a:p>
            <a:pPr algn="l" defTabSz="685783">
              <a:defRPr/>
            </a:pPr>
            <a:r>
              <a:rPr lang="en-US" sz="600" dirty="0">
                <a:solidFill>
                  <a:schemeClr val="bg2">
                    <a:lumMod val="60000"/>
                    <a:lumOff val="40000"/>
                  </a:schemeClr>
                </a:solidFill>
              </a:rPr>
              <a:t>© 2015 CareFusion Corporation or one of its subsidiaries. All rights reserved.</a:t>
            </a: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2" y="1143001"/>
            <a:ext cx="9143999" cy="4870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u="none" dirty="0"/>
              <a:t>Which NIV mask to use?</a:t>
            </a:r>
          </a:p>
        </p:txBody>
      </p:sp>
    </p:spTree>
    <p:extLst>
      <p:ext uri="{BB962C8B-B14F-4D97-AF65-F5344CB8AC3E}">
        <p14:creationId xmlns:p14="http://schemas.microsoft.com/office/powerpoint/2010/main" val="762774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4"/>
          <p:cNvSpPr txBox="1">
            <a:spLocks/>
          </p:cNvSpPr>
          <p:nvPr/>
        </p:nvSpPr>
        <p:spPr>
          <a:xfrm>
            <a:off x="4598059" y="5629708"/>
            <a:ext cx="3698219" cy="221933"/>
          </a:xfrm>
          <a:prstGeom prst="rect">
            <a:avLst/>
          </a:prstGeom>
        </p:spPr>
        <p:txBody>
          <a:bodyPr vert="horz" lIns="68580" tIns="34291" rIns="68580" bIns="34291" rtlCol="0" anchor="ctr"/>
          <a:lstStyle>
            <a:lvl1pPr algn="ctr">
              <a:defRPr/>
            </a:lvl1pPr>
          </a:lstStyle>
          <a:p>
            <a:pPr algn="l" defTabSz="685783">
              <a:defRPr/>
            </a:pPr>
            <a:r>
              <a:rPr lang="en-US" sz="600">
                <a:solidFill>
                  <a:schemeClr val="bg2">
                    <a:lumMod val="60000"/>
                    <a:lumOff val="40000"/>
                  </a:schemeClr>
                </a:solidFill>
              </a:rPr>
              <a:t>© 2016 </a:t>
            </a:r>
            <a:r>
              <a:rPr lang="en-US" sz="600" dirty="0">
                <a:solidFill>
                  <a:schemeClr val="bg2">
                    <a:lumMod val="60000"/>
                    <a:lumOff val="40000"/>
                  </a:schemeClr>
                </a:solidFill>
              </a:rPr>
              <a:t>CareFusion Corporation or one of its subsidiaries. All rights reserved.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2007895"/>
              </p:ext>
            </p:extLst>
          </p:nvPr>
        </p:nvGraphicFramePr>
        <p:xfrm>
          <a:off x="1524001" y="1133056"/>
          <a:ext cx="9143993" cy="5059024"/>
        </p:xfrm>
        <a:graphic>
          <a:graphicData uri="http://schemas.openxmlformats.org/drawingml/2006/table">
            <a:tbl>
              <a:tblPr/>
              <a:tblGrid>
                <a:gridCol w="11773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6486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1523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5479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4791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16189"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Code 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Description 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Elbow Colour 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UOM 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Pack Factor 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6189"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IV040L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SK, NIV FULL FACE, VENTED, LARGE W/AAV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lear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ase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6189"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IV040M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SK, NIV FULL FACE, VENTED, MED W/AAV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lear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ase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6189"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IV040S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SK, NIV FULL FACE, VENTED, SMALL W/AAV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lear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ase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6189"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IV043L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SK, NIV FULL FACE, NONVENTED,LRG W/AAV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Light Blue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ase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16189"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IV043M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SK, NIV FULL FACE,NONVENTED, MED W/AAV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Light Blue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ase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16189"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IV043S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SK, NIV FULL FACE,NONVENTED, SM W/AAV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Light Blue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ase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16189"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IV041L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SK, NIV FULL FACE, NONVENTED, LARGE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ark Blue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ase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16189"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IV041M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SK, NIV FULL FACE, NONVENTED, MEDIUM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ark Blue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ase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16189"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IV041S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SK, NIV FULL FACE, NONVENTED, SMALL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ark Blue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ase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16189"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IV044L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SK, NIV NASAL, NONVENTED, LARGE W/ AAV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Light Blue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ase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16189"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IV044M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SK, NIV NASAL, NONVENTED, MEDIUM W/AAV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Light Blue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ase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6189"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IV044S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SK, NIV NASAL, NONVENTED, SMALL W/AAV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Light Blue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ase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16189"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IV042L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SK, NIV NASAL, VENTED, LARGE W/ AAV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lear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ase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16189"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IV042M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n-NO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SK, NIV NASAL, VENTED, MEDIUM W/AAV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lear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ase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16189"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IV042S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SK, NIV NASAL, VENTED, SMALL W/AAV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lear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ase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</a:t>
                      </a:r>
                    </a:p>
                  </a:txBody>
                  <a:tcPr marL="6255" marR="6255" marT="6255" marB="0" anchor="b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u="none" dirty="0"/>
              <a:t>Part numbers</a:t>
            </a:r>
          </a:p>
        </p:txBody>
      </p:sp>
    </p:spTree>
    <p:extLst>
      <p:ext uri="{BB962C8B-B14F-4D97-AF65-F5344CB8AC3E}">
        <p14:creationId xmlns:p14="http://schemas.microsoft.com/office/powerpoint/2010/main" val="32988110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D4F6C3D-F54F-4BEF-B5C5-646D2FF7E80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Competitors</a:t>
            </a:r>
          </a:p>
        </p:txBody>
      </p:sp>
    </p:spTree>
    <p:extLst>
      <p:ext uri="{BB962C8B-B14F-4D97-AF65-F5344CB8AC3E}">
        <p14:creationId xmlns:p14="http://schemas.microsoft.com/office/powerpoint/2010/main" val="349460628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u="none" dirty="0"/>
              <a:t>Philips Respironics - </a:t>
            </a:r>
            <a:r>
              <a:rPr lang="en-US" u="none" dirty="0" err="1"/>
              <a:t>PerformaTrak</a:t>
            </a:r>
            <a:br>
              <a:rPr lang="en-US" u="none" dirty="0"/>
            </a:br>
            <a:endParaRPr lang="en-US" u="none" dirty="0"/>
          </a:p>
        </p:txBody>
      </p:sp>
      <p:sp>
        <p:nvSpPr>
          <p:cNvPr id="18435" name="Rectangle 3"/>
          <p:cNvSpPr>
            <a:spLocks noGrp="1" noChangeArrowheads="1"/>
          </p:cNvSpPr>
          <p:nvPr>
            <p:ph sz="quarter" idx="10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sz="2000" dirty="0"/>
              <a:t>Market Leader in NIV </a:t>
            </a:r>
          </a:p>
          <a:p>
            <a:endParaRPr lang="en-US" sz="2000" dirty="0"/>
          </a:p>
          <a:p>
            <a:r>
              <a:rPr lang="en-US" sz="2000" dirty="0"/>
              <a:t>Elbows labeled 1, 2, 3, &amp; 4</a:t>
            </a:r>
          </a:p>
          <a:p>
            <a:endParaRPr lang="en-US" sz="2000" dirty="0"/>
          </a:p>
          <a:p>
            <a:r>
              <a:rPr lang="en-US" sz="2000" dirty="0"/>
              <a:t>Dual-density foam forehead pads</a:t>
            </a:r>
          </a:p>
          <a:p>
            <a:endParaRPr lang="en-US" sz="2000" dirty="0"/>
          </a:p>
          <a:p>
            <a:r>
              <a:rPr lang="en-US" sz="2000" dirty="0"/>
              <a:t>3 sizes, clinicians can quickly fit a wide range of patients</a:t>
            </a:r>
          </a:p>
          <a:p>
            <a:endParaRPr lang="en-US" sz="2000" dirty="0"/>
          </a:p>
          <a:p>
            <a:r>
              <a:rPr lang="en-US" sz="2000" dirty="0"/>
              <a:t>Swivel clips simplify reapplication</a:t>
            </a:r>
          </a:p>
          <a:p>
            <a:endParaRPr lang="en-US" sz="2000" dirty="0"/>
          </a:p>
          <a:p>
            <a:endParaRPr lang="en-US" sz="2000" dirty="0"/>
          </a:p>
        </p:txBody>
      </p:sp>
      <p:sp>
        <p:nvSpPr>
          <p:cNvPr id="5" name="Footer Placeholder 4"/>
          <p:cNvSpPr txBox="1">
            <a:spLocks/>
          </p:cNvSpPr>
          <p:nvPr/>
        </p:nvSpPr>
        <p:spPr>
          <a:xfrm>
            <a:off x="4598059" y="5622564"/>
            <a:ext cx="3712507" cy="221933"/>
          </a:xfrm>
          <a:prstGeom prst="rect">
            <a:avLst/>
          </a:prstGeom>
        </p:spPr>
        <p:txBody>
          <a:bodyPr vert="horz" lIns="68580" tIns="34291" rIns="68580" bIns="34291" rtlCol="0" anchor="ctr"/>
          <a:lstStyle>
            <a:lvl1pPr algn="ctr">
              <a:defRPr/>
            </a:lvl1pPr>
          </a:lstStyle>
          <a:p>
            <a:pPr algn="l" defTabSz="685783">
              <a:defRPr/>
            </a:pPr>
            <a:r>
              <a:rPr lang="en-US" sz="600" dirty="0">
                <a:solidFill>
                  <a:schemeClr val="bg2">
                    <a:lumMod val="60000"/>
                    <a:lumOff val="40000"/>
                  </a:schemeClr>
                </a:solidFill>
              </a:rPr>
              <a:t>© 2015 CareFusion Corporation or one of its subsidiaries. All rights reserved.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1813" y="1308344"/>
            <a:ext cx="1701155" cy="29210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2094744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435" grpId="0" build="p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668193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68193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170" name="Picture 2" descr="http://www.resmed.com/content/dam/resmed/global/en/images/products/Masks/acucaref1-0/AcuCare_F1-0_hero_image.jpg.CROP.thumbnail.453X343.pn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56" r="12417"/>
          <a:stretch/>
        </p:blipFill>
        <p:spPr bwMode="auto">
          <a:xfrm>
            <a:off x="7876258" y="2823717"/>
            <a:ext cx="2673929" cy="24360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434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u="none" kern="0" dirty="0" err="1">
                <a:latin typeface="+mj-lt"/>
              </a:rPr>
              <a:t>ResMed</a:t>
            </a:r>
            <a:r>
              <a:rPr lang="en-US" u="none" kern="0" dirty="0">
                <a:latin typeface="+mj-lt"/>
              </a:rPr>
              <a:t> - </a:t>
            </a:r>
            <a:r>
              <a:rPr lang="en-US" u="none" kern="0" dirty="0" err="1">
                <a:latin typeface="+mj-lt"/>
              </a:rPr>
              <a:t>AcuCare</a:t>
            </a:r>
            <a:endParaRPr lang="en-US" sz="2700" u="none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AB07FE-ACF1-4450-8DF6-C2D04953516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8435" name="Rectangle 3"/>
          <p:cNvSpPr>
            <a:spLocks noGrp="1" noChangeArrowheads="1"/>
          </p:cNvSpPr>
          <p:nvPr>
            <p:ph sz="quarter" idx="10"/>
          </p:nvPr>
        </p:nvSpPr>
        <p:spPr/>
        <p:txBody>
          <a:bodyPr>
            <a:noAutofit/>
          </a:bodyPr>
          <a:lstStyle/>
          <a:p>
            <a:pPr marL="257168" lvl="2" indent="-257168"/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Patented dual-wall seal to provide unsurpassed comfort and a stable fit</a:t>
            </a:r>
          </a:p>
          <a:p>
            <a:pPr marL="257168" lvl="2" indent="-257168"/>
            <a:endParaRPr lang="en-US" dirty="0">
              <a:solidFill>
                <a:schemeClr val="bg1">
                  <a:lumMod val="50000"/>
                </a:schemeClr>
              </a:solidFill>
              <a:latin typeface="+mn-lt"/>
            </a:endParaRPr>
          </a:p>
          <a:p>
            <a:pPr marL="257168" lvl="2" indent="-257168"/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Resulting in the ability to reduce mask leak and alleviate skin breakdown</a:t>
            </a:r>
          </a:p>
          <a:p>
            <a:pPr marL="257168" lvl="2" indent="-257168"/>
            <a:endParaRPr lang="en-US" dirty="0">
              <a:solidFill>
                <a:schemeClr val="bg1">
                  <a:lumMod val="50000"/>
                </a:schemeClr>
              </a:solidFill>
              <a:latin typeface="+mn-lt"/>
            </a:endParaRPr>
          </a:p>
          <a:p>
            <a:pPr marL="257168" lvl="2" indent="-257168"/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Single patient use for up to 7 days</a:t>
            </a:r>
          </a:p>
        </p:txBody>
      </p:sp>
      <p:sp>
        <p:nvSpPr>
          <p:cNvPr id="5" name="Footer Placeholder 4"/>
          <p:cNvSpPr txBox="1">
            <a:spLocks/>
          </p:cNvSpPr>
          <p:nvPr/>
        </p:nvSpPr>
        <p:spPr>
          <a:xfrm>
            <a:off x="4598059" y="5622564"/>
            <a:ext cx="3712507" cy="221933"/>
          </a:xfrm>
          <a:prstGeom prst="rect">
            <a:avLst/>
          </a:prstGeom>
        </p:spPr>
        <p:txBody>
          <a:bodyPr vert="horz" lIns="68580" tIns="34291" rIns="68580" bIns="34291" rtlCol="0" anchor="ctr"/>
          <a:lstStyle>
            <a:lvl1pPr algn="ctr">
              <a:defRPr/>
            </a:lvl1pPr>
          </a:lstStyle>
          <a:p>
            <a:pPr algn="l" defTabSz="685783">
              <a:defRPr/>
            </a:pPr>
            <a:r>
              <a:rPr lang="en-US" sz="600" dirty="0">
                <a:solidFill>
                  <a:schemeClr val="bg2">
                    <a:lumMod val="60000"/>
                    <a:lumOff val="40000"/>
                  </a:schemeClr>
                </a:solidFill>
              </a:rPr>
              <a:t>© 2015 CareFusion Corporation or one of its subsidiari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53316831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5">
            <a:extLst>
              <a:ext uri="{FF2B5EF4-FFF2-40B4-BE49-F238E27FC236}">
                <a16:creationId xmlns:a16="http://schemas.microsoft.com/office/drawing/2014/main" id="{71E4CA20-7689-3B4B-84E2-3133176796B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7853" y="2139902"/>
            <a:ext cx="4605073" cy="941091"/>
          </a:xfrm>
        </p:spPr>
        <p:txBody>
          <a:bodyPr/>
          <a:lstStyle/>
          <a:p>
            <a:r>
              <a:rPr lang="en-US" dirty="0"/>
              <a:t>NIV feature and benefits </a:t>
            </a:r>
            <a:r>
              <a:rPr lang="en-GB" u="sng" dirty="0">
                <a:hlinkClick r:id="rId4"/>
              </a:rPr>
              <a:t>https://www.youtube.com/watch?v=0hP-g4l4OKk</a:t>
            </a:r>
            <a:endParaRPr lang="en-US" dirty="0"/>
          </a:p>
        </p:txBody>
      </p:sp>
      <p:pic>
        <p:nvPicPr>
          <p:cNvPr id="3" name="Online Media 2" title="NIV Mask: In Service Video">
            <a:hlinkClick r:id="" action="ppaction://media"/>
            <a:extLst>
              <a:ext uri="{FF2B5EF4-FFF2-40B4-BE49-F238E27FC236}">
                <a16:creationId xmlns:a16="http://schemas.microsoft.com/office/drawing/2014/main" id="{32D1E8AF-3D39-4080-B1FA-1B07380CFC75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5"/>
          <a:stretch>
            <a:fillRect/>
          </a:stretch>
        </p:blipFill>
        <p:spPr>
          <a:xfrm>
            <a:off x="5496560" y="1939290"/>
            <a:ext cx="6014720" cy="3398317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u="none" dirty="0"/>
              <a:t>F&amp;P </a:t>
            </a:r>
            <a:r>
              <a:rPr lang="en-GB" u="none" dirty="0" err="1"/>
              <a:t>FreeMotion</a:t>
            </a:r>
            <a:endParaRPr lang="en-GB" u="non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DB6C876-B5B2-4BD3-B3E5-DD97782D857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sz="2000" dirty="0"/>
              <a:t>Under chin seal provides for a more comfortable and stable fit</a:t>
            </a:r>
          </a:p>
          <a:p>
            <a:endParaRPr lang="en-US" sz="2000" dirty="0"/>
          </a:p>
          <a:p>
            <a:r>
              <a:rPr lang="en-US" sz="2000" dirty="0"/>
              <a:t>Free Motion Glider with quick release clip enables freedom of movement with single motion refit</a:t>
            </a:r>
          </a:p>
          <a:p>
            <a:endParaRPr lang="en-US" sz="2000" dirty="0"/>
          </a:p>
          <a:p>
            <a:r>
              <a:rPr lang="en-US" sz="2000" dirty="0"/>
              <a:t>Available in 3 sizes: small; medium and large</a:t>
            </a:r>
          </a:p>
          <a:p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0" y="7594600"/>
            <a:ext cx="646113" cy="487363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l" defTabSz="609585" rtl="0" eaLnBrk="1" latinLnBrk="0" hangingPunct="1">
              <a:defRPr sz="1600" b="0" i="0" kern="1200">
                <a:solidFill>
                  <a:srgbClr val="72B1D4"/>
                </a:solidFill>
                <a:latin typeface="Arial" charset="0"/>
                <a:ea typeface="Arial" charset="0"/>
                <a:cs typeface="Arial" charset="0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7E6B461-9956-8949-AE00-D6B8EA66FAB3}" type="slidenum">
              <a:rPr lang="en-US" smtClean="0"/>
              <a:pPr/>
              <a:t>30</a:t>
            </a:fld>
            <a:endParaRPr lang="en-US"/>
          </a:p>
        </p:txBody>
      </p:sp>
      <p:pic>
        <p:nvPicPr>
          <p:cNvPr id="5122" name="Picture 2" descr="FreeMotion™ RT04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6416" y="2685774"/>
            <a:ext cx="2225201" cy="32343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592007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u="none" dirty="0"/>
              <a:t>F&amp;P </a:t>
            </a:r>
            <a:r>
              <a:rPr lang="en-GB" u="none" dirty="0" err="1"/>
              <a:t>Nivaro</a:t>
            </a:r>
            <a:endParaRPr lang="en-GB" u="non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B21EA4C-4347-4F97-AE1E-8FD19597484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sz="2000" dirty="0" err="1"/>
              <a:t>RollFit</a:t>
            </a:r>
            <a:r>
              <a:rPr lang="en-US" sz="2000" dirty="0"/>
              <a:t> seal to adapt to different face shapes and </a:t>
            </a:r>
            <a:r>
              <a:rPr lang="en-US" sz="2000" dirty="0" err="1"/>
              <a:t>minimises</a:t>
            </a:r>
            <a:r>
              <a:rPr lang="en-US" sz="2000" dirty="0"/>
              <a:t> pressure on the bridge of the nose</a:t>
            </a:r>
          </a:p>
          <a:p>
            <a:endParaRPr lang="en-US" sz="2000" dirty="0"/>
          </a:p>
          <a:p>
            <a:r>
              <a:rPr lang="en-US" sz="2000" dirty="0"/>
              <a:t>Easy clips on both sides for simple removal and refit</a:t>
            </a:r>
          </a:p>
          <a:p>
            <a:endParaRPr lang="en-US" sz="2000" dirty="0"/>
          </a:p>
          <a:p>
            <a:r>
              <a:rPr lang="en-US" sz="2000" dirty="0"/>
              <a:t>Breathable headgear fabric for enhanced comfort</a:t>
            </a:r>
          </a:p>
          <a:p>
            <a:endParaRPr lang="en-US" sz="2000" dirty="0"/>
          </a:p>
          <a:p>
            <a:r>
              <a:rPr lang="en-US" sz="2000" dirty="0"/>
              <a:t>2 sizes of headgear to accommodate different head shapes</a:t>
            </a:r>
          </a:p>
          <a:p>
            <a:endParaRPr lang="en-US" sz="2000" dirty="0"/>
          </a:p>
          <a:p>
            <a:r>
              <a:rPr lang="en-US" sz="2000" dirty="0"/>
              <a:t>Available in 4 sizes: Extra Small, Small, Medium and Large</a:t>
            </a:r>
          </a:p>
          <a:p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0" y="7594600"/>
            <a:ext cx="646113" cy="487363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l" defTabSz="609585" rtl="0" eaLnBrk="1" latinLnBrk="0" hangingPunct="1">
              <a:defRPr sz="1600" b="0" i="0" kern="1200">
                <a:solidFill>
                  <a:srgbClr val="72B1D4"/>
                </a:solidFill>
                <a:latin typeface="Arial" charset="0"/>
                <a:ea typeface="Arial" charset="0"/>
                <a:cs typeface="Arial" charset="0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7E6B461-9956-8949-AE00-D6B8EA66FAB3}" type="slidenum">
              <a:rPr lang="en-US" smtClean="0"/>
              <a:pPr/>
              <a:t>31</a:t>
            </a:fld>
            <a:endParaRPr lang="en-US"/>
          </a:p>
        </p:txBody>
      </p:sp>
      <p:pic>
        <p:nvPicPr>
          <p:cNvPr id="6146" name="Picture 2" descr="F&amp;P Nivairo™ RT045 Non-vented Full Face Mask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1877" y="2802955"/>
            <a:ext cx="2116124" cy="3258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55268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u="none" dirty="0" err="1"/>
              <a:t>Intersurgical</a:t>
            </a:r>
            <a:r>
              <a:rPr lang="en-GB" u="none" dirty="0"/>
              <a:t> Face Fi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BFB3357-3D86-482F-9002-6CAB22F8626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323056" y="2690792"/>
            <a:ext cx="10944489" cy="3802063"/>
          </a:xfrm>
        </p:spPr>
        <p:txBody>
          <a:bodyPr>
            <a:normAutofit/>
          </a:bodyPr>
          <a:lstStyle/>
          <a:p>
            <a:r>
              <a:rPr lang="en-US" sz="2000" dirty="0" err="1"/>
              <a:t>FaceFit</a:t>
            </a:r>
            <a:r>
              <a:rPr lang="en-US" sz="2000" dirty="0"/>
              <a:t> is a range of lightweight and comfortable masks for use in non-invasive ventilation (NIV)</a:t>
            </a:r>
          </a:p>
          <a:p>
            <a:endParaRPr lang="en-US" sz="2000" dirty="0"/>
          </a:p>
          <a:p>
            <a:r>
              <a:rPr lang="en-US" sz="2000" dirty="0" err="1"/>
              <a:t>FaceFit</a:t>
            </a:r>
            <a:r>
              <a:rPr lang="en-US" sz="2000" dirty="0"/>
              <a:t> NIV and </a:t>
            </a:r>
            <a:r>
              <a:rPr lang="en-US" sz="2000" dirty="0" err="1"/>
              <a:t>FaceFit</a:t>
            </a:r>
            <a:r>
              <a:rPr lang="en-US" sz="2000" dirty="0"/>
              <a:t> Ported NIV masks are available in 3 sizes with a size guide</a:t>
            </a:r>
          </a:p>
          <a:p>
            <a:endParaRPr lang="en-US" sz="2000" dirty="0"/>
          </a:p>
          <a:p>
            <a:r>
              <a:rPr lang="en-US" sz="2000" dirty="0"/>
              <a:t>Masks provide a lightweight comfortable interface for the patient with minimal dead space</a:t>
            </a:r>
          </a:p>
          <a:p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0" y="7594600"/>
            <a:ext cx="646113" cy="487363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l" defTabSz="609585" rtl="0" eaLnBrk="1" latinLnBrk="0" hangingPunct="1">
              <a:defRPr sz="1600" b="0" i="0" kern="1200">
                <a:solidFill>
                  <a:srgbClr val="72B1D4"/>
                </a:solidFill>
                <a:latin typeface="Arial" charset="0"/>
                <a:ea typeface="Arial" charset="0"/>
                <a:cs typeface="Arial" charset="0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7E6B461-9956-8949-AE00-D6B8EA66FAB3}" type="slidenum">
              <a:rPr lang="en-US" smtClean="0"/>
              <a:pPr/>
              <a:t>32</a:t>
            </a:fld>
            <a:endParaRPr lang="en-US"/>
          </a:p>
        </p:txBody>
      </p:sp>
      <p:pic>
        <p:nvPicPr>
          <p:cNvPr id="14339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298" t="20202" r="37450" b="37653"/>
          <a:stretch/>
        </p:blipFill>
        <p:spPr bwMode="auto">
          <a:xfrm>
            <a:off x="7750752" y="0"/>
            <a:ext cx="2917248" cy="2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675729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u="none" dirty="0" err="1"/>
              <a:t>Intersurgical</a:t>
            </a:r>
            <a:r>
              <a:rPr lang="en-GB" u="none" dirty="0"/>
              <a:t> </a:t>
            </a:r>
            <a:r>
              <a:rPr lang="en-GB" u="none" dirty="0" err="1"/>
              <a:t>Vari</a:t>
            </a:r>
            <a:r>
              <a:rPr lang="en-GB" u="none" dirty="0"/>
              <a:t> Fi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8B8631-1495-4AF7-BD4C-11204C11FF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323056" y="2219440"/>
            <a:ext cx="10944489" cy="3802063"/>
          </a:xfrm>
        </p:spPr>
        <p:txBody>
          <a:bodyPr>
            <a:normAutofit lnSpcReduction="10000"/>
          </a:bodyPr>
          <a:lstStyle/>
          <a:p>
            <a:r>
              <a:rPr lang="en-US" dirty="0"/>
              <a:t>The </a:t>
            </a:r>
            <a:r>
              <a:rPr lang="en-US" dirty="0" err="1"/>
              <a:t>VariFit</a:t>
            </a:r>
            <a:r>
              <a:rPr lang="en-US" dirty="0"/>
              <a:t> is a single patient use hospital NIV mask featuring a cushion with </a:t>
            </a:r>
            <a:r>
              <a:rPr lang="en-US" dirty="0" err="1"/>
              <a:t>AIRgel</a:t>
            </a:r>
            <a:r>
              <a:rPr lang="en-US" dirty="0"/>
              <a:t> technology for enhanced patient comfort</a:t>
            </a:r>
          </a:p>
          <a:p>
            <a:endParaRPr lang="en-US" dirty="0"/>
          </a:p>
          <a:p>
            <a:r>
              <a:rPr lang="en-US" dirty="0"/>
              <a:t>The breathable, quick release headgear is designed to fit easily to the patient and improve patient comfort</a:t>
            </a:r>
            <a:br>
              <a:rPr lang="en-US" dirty="0"/>
            </a:br>
            <a:endParaRPr lang="en-US" dirty="0"/>
          </a:p>
          <a:p>
            <a:r>
              <a:rPr lang="en-US" dirty="0" err="1"/>
              <a:t>VariFit</a:t>
            </a:r>
            <a:r>
              <a:rPr lang="en-US" dirty="0"/>
              <a:t> masks are available in 3 sizes with a size guide</a:t>
            </a:r>
          </a:p>
          <a:p>
            <a:endParaRPr lang="en-US" dirty="0"/>
          </a:p>
          <a:p>
            <a:r>
              <a:rPr lang="en-US" dirty="0" err="1"/>
              <a:t>VariFit</a:t>
            </a:r>
            <a:r>
              <a:rPr lang="en-US" dirty="0"/>
              <a:t> NIV masks, vented with anti-asphyxiation valve, have a clear elbow and are suitable for use with single limb breathing systems that do not have a CO2 leak port</a:t>
            </a:r>
          </a:p>
          <a:p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0" y="7594600"/>
            <a:ext cx="646113" cy="487363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l" defTabSz="609585" rtl="0" eaLnBrk="1" latinLnBrk="0" hangingPunct="1">
              <a:defRPr sz="1600" b="0" i="0" kern="1200">
                <a:solidFill>
                  <a:srgbClr val="72B1D4"/>
                </a:solidFill>
                <a:latin typeface="Arial" charset="0"/>
                <a:ea typeface="Arial" charset="0"/>
                <a:cs typeface="Arial" charset="0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7E6B461-9956-8949-AE00-D6B8EA66FAB3}" type="slidenum">
              <a:rPr lang="en-US" smtClean="0"/>
              <a:pPr/>
              <a:t>33</a:t>
            </a:fld>
            <a:endParaRPr lang="en-US"/>
          </a:p>
        </p:txBody>
      </p:sp>
      <p:pic>
        <p:nvPicPr>
          <p:cNvPr id="15362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151" t="19932" r="35960" b="36449"/>
          <a:stretch/>
        </p:blipFill>
        <p:spPr bwMode="auto">
          <a:xfrm>
            <a:off x="9726219" y="242865"/>
            <a:ext cx="1993499" cy="20474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890649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D4F6C3D-F54F-4BEF-B5C5-646D2FF7E80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Tool box</a:t>
            </a:r>
          </a:p>
        </p:txBody>
      </p:sp>
    </p:spTree>
    <p:extLst>
      <p:ext uri="{BB962C8B-B14F-4D97-AF65-F5344CB8AC3E}">
        <p14:creationId xmlns:p14="http://schemas.microsoft.com/office/powerpoint/2010/main" val="47574007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Table&#10;&#10;Description automatically generated">
            <a:extLst>
              <a:ext uri="{FF2B5EF4-FFF2-40B4-BE49-F238E27FC236}">
                <a16:creationId xmlns:a16="http://schemas.microsoft.com/office/drawing/2014/main" id="{AC853466-258C-4728-9B05-9C9A8A6866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5307" y="1144320"/>
            <a:ext cx="4272351" cy="4569360"/>
          </a:xfrm>
          <a:prstGeom prst="rect">
            <a:avLst/>
          </a:prstGeom>
          <a:noFill/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06DC6A5-74DC-4509-A148-75D3D55BFA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47830" y="590425"/>
            <a:ext cx="2458440" cy="567714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039783C-F70D-407E-BDF2-E67C7E29060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27961" y="2015145"/>
            <a:ext cx="4118732" cy="2468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710716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C8D44-BCD7-4503-9A04-442B777E23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ic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FFC3FE0-CDCC-4F1A-A0EF-248755AE85BD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GB" sz="3600" b="1" dirty="0"/>
              <a:t>£240 EX VAT </a:t>
            </a:r>
            <a:r>
              <a:rPr lang="en-GB" dirty="0"/>
              <a:t>ON NHSSC</a:t>
            </a:r>
          </a:p>
          <a:p>
            <a:endParaRPr lang="en-GB" dirty="0"/>
          </a:p>
          <a:p>
            <a:r>
              <a:rPr lang="en-GB" dirty="0"/>
              <a:t>OPEN TO DICUSSIONS BASED ON USAGE FOR DIRECT CUSTOMERS!! </a:t>
            </a:r>
          </a:p>
        </p:txBody>
      </p:sp>
    </p:spTree>
    <p:extLst>
      <p:ext uri="{BB962C8B-B14F-4D97-AF65-F5344CB8AC3E}">
        <p14:creationId xmlns:p14="http://schemas.microsoft.com/office/powerpoint/2010/main" val="345483012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D4D42D85-37EC-4C66-9421-AC1EC8BD5F0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Questions</a:t>
            </a:r>
          </a:p>
        </p:txBody>
      </p:sp>
    </p:spTree>
    <p:extLst>
      <p:ext uri="{BB962C8B-B14F-4D97-AF65-F5344CB8AC3E}">
        <p14:creationId xmlns:p14="http://schemas.microsoft.com/office/powerpoint/2010/main" val="35711419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BAE260-EB6A-43ED-B242-A89063BD04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u="none" dirty="0"/>
              <a:t>What is a NIV Mask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EAF1FE-5105-4605-AE4B-B9B4EC9DB164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r>
              <a:rPr lang="en-GB" dirty="0"/>
              <a:t>Non-invasive ventilation (NIV) is a way of helping patients breathe more deeply by blowing extra air into their lungs via a mask when you breathe in. </a:t>
            </a:r>
          </a:p>
          <a:p>
            <a:endParaRPr lang="en-GB" dirty="0"/>
          </a:p>
          <a:p>
            <a:r>
              <a:rPr lang="en-GB" dirty="0"/>
              <a:t>This supports patients breathing, rests breathing muscles and gives patients time to recover. </a:t>
            </a:r>
          </a:p>
          <a:p>
            <a:endParaRPr lang="en-GB" dirty="0"/>
          </a:p>
          <a:p>
            <a:r>
              <a:rPr lang="en-GB" dirty="0"/>
              <a:t>By assisting patients breathing, NIV can increase the oxygen levels and decrease the carbon dioxide levels in the blood. </a:t>
            </a:r>
          </a:p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C073DF-AAB9-44D3-9F7F-D59B0BBDEC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7594600"/>
            <a:ext cx="646113" cy="487363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l" defTabSz="609585" rtl="0" eaLnBrk="1" latinLnBrk="0" hangingPunct="1">
              <a:defRPr sz="1600" b="0" i="0" kern="1200">
                <a:solidFill>
                  <a:srgbClr val="72B1D4"/>
                </a:solidFill>
                <a:latin typeface="Arial" charset="0"/>
                <a:ea typeface="Arial" charset="0"/>
                <a:cs typeface="Arial" charset="0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7E6B461-9956-8949-AE00-D6B8EA66FAB3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35842" name="Picture 2" descr="Choosing the Proper Interface for Positive Airway Pressure Therapy in  Subjects With Acute Respiratory Failure | Respiratory Care">
            <a:extLst>
              <a:ext uri="{FF2B5EF4-FFF2-40B4-BE49-F238E27FC236}">
                <a16:creationId xmlns:a16="http://schemas.microsoft.com/office/drawing/2014/main" id="{3ECCAE44-60BD-47FF-8203-D28613344B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4151" y="4061891"/>
            <a:ext cx="3727129" cy="33199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40593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6A3D47-7CA7-4FDA-9E93-B4C8A26227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u="none" dirty="0"/>
              <a:t>How does a NIV mask work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B1B202-D1FF-4E50-A3EC-98FF0A43FE9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72283" y="1361282"/>
            <a:ext cx="5270972" cy="3802063"/>
          </a:xfrm>
        </p:spPr>
        <p:txBody>
          <a:bodyPr>
            <a:normAutofit fontScale="55000" lnSpcReduction="20000"/>
          </a:bodyPr>
          <a:lstStyle/>
          <a:p>
            <a:r>
              <a:rPr lang="en-GB" sz="2900" dirty="0"/>
              <a:t>Patients receiving NIV need to wear a cushioned mask which is connected to a machine. The mask either fits over the nose alone, or over both the nose and mouth.</a:t>
            </a:r>
          </a:p>
          <a:p>
            <a:endParaRPr lang="en-GB" sz="2900" dirty="0"/>
          </a:p>
          <a:p>
            <a:r>
              <a:rPr lang="en-GB" sz="2900" dirty="0"/>
              <a:t>As patients take a breath in they will feel a flow of air and oxygen into their lungs from the machine. </a:t>
            </a:r>
          </a:p>
          <a:p>
            <a:endParaRPr lang="en-GB" sz="2900" dirty="0"/>
          </a:p>
          <a:p>
            <a:r>
              <a:rPr lang="en-GB" sz="2900" dirty="0"/>
              <a:t>As patients breathe out there will be a small amount of air / resistance to help keep their lungs open. </a:t>
            </a:r>
          </a:p>
          <a:p>
            <a:endParaRPr lang="en-GB" sz="2900" dirty="0"/>
          </a:p>
          <a:p>
            <a:r>
              <a:rPr lang="en-GB" sz="2900" dirty="0"/>
              <a:t>This continual positive pressure helps to </a:t>
            </a:r>
            <a:r>
              <a:rPr lang="en-GB" sz="2900" i="1" dirty="0"/>
              <a:t>‘splint’</a:t>
            </a:r>
            <a:r>
              <a:rPr lang="en-GB" sz="2900" dirty="0"/>
              <a:t> the airways open, enabling patients to take bigger breaths with less effort therefore helping them rest tired respiratory muscles. </a:t>
            </a:r>
          </a:p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2B5374-D6AA-49D3-BF7A-E161C9F75C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7594600"/>
            <a:ext cx="646113" cy="487363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l" defTabSz="609585" rtl="0" eaLnBrk="1" latinLnBrk="0" hangingPunct="1">
              <a:defRPr sz="1600" b="0" i="0" kern="1200">
                <a:solidFill>
                  <a:srgbClr val="72B1D4"/>
                </a:solidFill>
                <a:latin typeface="Arial" charset="0"/>
                <a:ea typeface="Arial" charset="0"/>
                <a:cs typeface="Arial" charset="0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7E6B461-9956-8949-AE00-D6B8EA66FAB3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6640794-2EC6-4C00-B28C-25E691FB57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3130" y="1747838"/>
            <a:ext cx="4222679" cy="3362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06650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E147D9-3D7F-4E78-B814-2A1AECAACA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u="none" dirty="0"/>
              <a:t>Why should a patient have a NIV mask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3693CF-3F9E-4182-B34D-FAAD4B238A4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72283" y="1361282"/>
            <a:ext cx="5623718" cy="3802063"/>
          </a:xfrm>
        </p:spPr>
        <p:txBody>
          <a:bodyPr>
            <a:normAutofit fontScale="92500" lnSpcReduction="20000"/>
          </a:bodyPr>
          <a:lstStyle/>
          <a:p>
            <a:r>
              <a:rPr lang="en-GB" dirty="0"/>
              <a:t>When we breathe in, we take oxygen out of the air to keep us alive. Our bodies use oxygen to make energy and produce carbon dioxide as a waste product, which we breathe out.</a:t>
            </a:r>
          </a:p>
          <a:p>
            <a:endParaRPr lang="en-GB" dirty="0"/>
          </a:p>
          <a:p>
            <a:r>
              <a:rPr lang="en-GB" dirty="0"/>
              <a:t>When we experience a breathing problem, such as a chest infection, breathing becomes harder work and our muscles get tired. </a:t>
            </a:r>
          </a:p>
          <a:p>
            <a:endParaRPr lang="en-GB" dirty="0"/>
          </a:p>
          <a:p>
            <a:r>
              <a:rPr lang="en-GB" dirty="0"/>
              <a:t>Our body may not be able to take in enough oxygen and you might get a build up of the waste gas, carbon dioxide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37BE3F-48B7-4DC0-8B75-A9F732B093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7594600"/>
            <a:ext cx="646113" cy="487363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l" defTabSz="609585" rtl="0" eaLnBrk="1" latinLnBrk="0" hangingPunct="1">
              <a:defRPr sz="1600" b="0" i="0" kern="1200">
                <a:solidFill>
                  <a:srgbClr val="72B1D4"/>
                </a:solidFill>
                <a:latin typeface="Arial" charset="0"/>
                <a:ea typeface="Arial" charset="0"/>
                <a:cs typeface="Arial" charset="0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7E6B461-9956-8949-AE00-D6B8EA66FAB3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E1B1995-DF8E-4228-A98C-6E6D6007FA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16357" y="1603925"/>
            <a:ext cx="3959177" cy="3728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25803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E81C59-AB4B-4223-83A4-598E0150E5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u="none" dirty="0"/>
              <a:t>How to decide when a patient needs a NIV mask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0CADFC-0A77-4D44-BE6F-CE7650A7CD4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r>
              <a:rPr lang="en-GB" sz="2000" dirty="0"/>
              <a:t>Patients will have a blood sample taken from an artery to accurately measure oxygen and carbon dioxide levels.</a:t>
            </a:r>
          </a:p>
          <a:p>
            <a:endParaRPr lang="en-GB" sz="2000" dirty="0"/>
          </a:p>
          <a:p>
            <a:r>
              <a:rPr lang="en-GB" sz="2000" dirty="0"/>
              <a:t>Whilst poor levels of oxygen can be treated by providing extra oxygen, (</a:t>
            </a:r>
            <a:r>
              <a:rPr lang="en-GB" sz="2000" i="1" dirty="0"/>
              <a:t>either by nasal cannula or a mask</a:t>
            </a:r>
            <a:r>
              <a:rPr lang="en-GB" sz="2000" dirty="0"/>
              <a:t>), high carbon dioxide levels require NIV to help get rid of the carbon dioxide and to rest the respiratory muscles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DDB268-91B3-441B-ACDC-87460F8088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7594600"/>
            <a:ext cx="646113" cy="487363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l" defTabSz="609585" rtl="0" eaLnBrk="1" latinLnBrk="0" hangingPunct="1">
              <a:defRPr sz="1600" b="0" i="0" kern="1200">
                <a:solidFill>
                  <a:srgbClr val="72B1D4"/>
                </a:solidFill>
                <a:latin typeface="Arial" charset="0"/>
                <a:ea typeface="Arial" charset="0"/>
                <a:cs typeface="Arial" charset="0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7E6B461-9956-8949-AE00-D6B8EA66FAB3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36870" name="Picture 6" descr="Succeed in Respiratory Care: NIV &amp; High-Flow Oxygen Therapy | Philips">
            <a:extLst>
              <a:ext uri="{FF2B5EF4-FFF2-40B4-BE49-F238E27FC236}">
                <a16:creationId xmlns:a16="http://schemas.microsoft.com/office/drawing/2014/main" id="{D5AA9172-C001-42B2-AD25-4BB8D88C2B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6911" y="3684573"/>
            <a:ext cx="6667500" cy="2694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224507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64EBFD-2E9B-458F-90D8-1BD9E9A57F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u="none" dirty="0"/>
              <a:t>What happens during NIV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5CB1B-A9D1-460C-A4B2-A9268C73C6B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72282" y="1361282"/>
            <a:ext cx="4849731" cy="3802063"/>
          </a:xfrm>
        </p:spPr>
        <p:txBody>
          <a:bodyPr>
            <a:normAutofit/>
          </a:bodyPr>
          <a:lstStyle/>
          <a:p>
            <a:r>
              <a:rPr lang="en-GB" dirty="0"/>
              <a:t>NIV can feel strange at first, but most patients adjust quickly, and as it supports their breathing and therefore often allowing them to relax and get some sleep. </a:t>
            </a:r>
          </a:p>
          <a:p>
            <a:endParaRPr lang="en-GB" dirty="0"/>
          </a:p>
          <a:p>
            <a:r>
              <a:rPr lang="en-GB" dirty="0"/>
              <a:t>The mask has to be applied firmly to make sure enough air from the machine goes into a patients lungs without too much leaking from the mask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16D1CBC-3BDB-4BEA-975C-9AA1802073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7594600"/>
            <a:ext cx="646113" cy="487363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l" defTabSz="609585" rtl="0" eaLnBrk="1" latinLnBrk="0" hangingPunct="1">
              <a:defRPr sz="1600" b="0" i="0" kern="1200">
                <a:solidFill>
                  <a:srgbClr val="72B1D4"/>
                </a:solidFill>
                <a:latin typeface="Arial" charset="0"/>
                <a:ea typeface="Arial" charset="0"/>
                <a:cs typeface="Arial" charset="0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7E6B461-9956-8949-AE00-D6B8EA66FAB3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41986" name="Picture 2" descr="Continuous Noninvasive Ventilation Delivered by a Novel Total Face Mask: A  Case Series Report | Respiratory Care">
            <a:extLst>
              <a:ext uri="{FF2B5EF4-FFF2-40B4-BE49-F238E27FC236}">
                <a16:creationId xmlns:a16="http://schemas.microsoft.com/office/drawing/2014/main" id="{E1FF431E-BE37-4062-A3CF-3337C2C74B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7522" y="1472222"/>
            <a:ext cx="4688655" cy="39135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384149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16354A-F77D-407D-916F-67D5B38D97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u="none" dirty="0"/>
              <a:t>What problems are associated with NIV masks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61CF11-040F-4F37-9676-DD65B875616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72283" y="1361282"/>
            <a:ext cx="5024392" cy="3802063"/>
          </a:xfrm>
        </p:spPr>
        <p:txBody>
          <a:bodyPr>
            <a:normAutofit fontScale="85000" lnSpcReduction="20000"/>
          </a:bodyPr>
          <a:lstStyle/>
          <a:p>
            <a:r>
              <a:rPr lang="en-GB" b="1" dirty="0"/>
              <a:t>Skin ulceration </a:t>
            </a:r>
            <a:r>
              <a:rPr lang="en-GB" dirty="0"/>
              <a:t>- some patients get sore skin and complain of discomfort on the bridge of their nose. </a:t>
            </a:r>
          </a:p>
          <a:p>
            <a:endParaRPr lang="en-GB" dirty="0"/>
          </a:p>
          <a:p>
            <a:r>
              <a:rPr lang="en-GB" b="1" dirty="0"/>
              <a:t>Poor mask fit </a:t>
            </a:r>
            <a:r>
              <a:rPr lang="en-GB" dirty="0"/>
              <a:t>- some patients complain of the NIV machine alarming, this is due to too much air leaking from the sides of the mask. </a:t>
            </a:r>
          </a:p>
          <a:p>
            <a:endParaRPr lang="en-GB" dirty="0"/>
          </a:p>
          <a:p>
            <a:r>
              <a:rPr lang="en-GB" b="1" dirty="0"/>
              <a:t>Overtightening the head gear </a:t>
            </a:r>
            <a:r>
              <a:rPr lang="en-GB" dirty="0"/>
              <a:t>in an attempt to reduce leakage exacerbates skin damage resulting in poor compliance.</a:t>
            </a:r>
          </a:p>
          <a:p>
            <a:endParaRPr lang="en-GB" dirty="0"/>
          </a:p>
          <a:p>
            <a:r>
              <a:rPr lang="en-GB" b="1" dirty="0"/>
              <a:t>Mask fit </a:t>
            </a:r>
            <a:r>
              <a:rPr lang="en-GB" dirty="0"/>
              <a:t>is therefore very important for comfort and to ensure effective ventilatory support.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D1E769-E374-420F-8728-396A94BB0C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7594600"/>
            <a:ext cx="646113" cy="487363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l" defTabSz="609585" rtl="0" eaLnBrk="1" latinLnBrk="0" hangingPunct="1">
              <a:defRPr sz="1600" b="0" i="0" kern="1200">
                <a:solidFill>
                  <a:srgbClr val="72B1D4"/>
                </a:solidFill>
                <a:latin typeface="Arial" charset="0"/>
                <a:ea typeface="Arial" charset="0"/>
                <a:cs typeface="Arial" charset="0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7E6B461-9956-8949-AE00-D6B8EA66FAB3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3B0BD04-CFFA-4E5C-A69E-D01349B1A7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33373" y="1143002"/>
            <a:ext cx="4634627" cy="394243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655F98F-E666-46E4-A127-6762CBC7F7FC}"/>
              </a:ext>
            </a:extLst>
          </p:cNvPr>
          <p:cNvSpPr/>
          <p:nvPr/>
        </p:nvSpPr>
        <p:spPr>
          <a:xfrm>
            <a:off x="6033373" y="5104481"/>
            <a:ext cx="4572000" cy="86177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1000" dirty="0">
                <a:solidFill>
                  <a:srgbClr val="222222"/>
                </a:solidFill>
                <a:latin typeface="proxima nova"/>
                <a:hlinkClick r:id="rId3"/>
              </a:rPr>
              <a:t>https://www.cureus.com/articles/5246-case-report-of-a-pressure-ulcer-occurring-over-the-nasal-bridge-due-to-a-non-invasive-ventilation-facial-mask</a:t>
            </a:r>
            <a:endParaRPr lang="en-GB" sz="1000" dirty="0">
              <a:solidFill>
                <a:srgbClr val="222222"/>
              </a:solidFill>
              <a:latin typeface="proxima nova"/>
            </a:endParaRPr>
          </a:p>
          <a:p>
            <a:r>
              <a:rPr lang="en-GB" sz="1000" dirty="0">
                <a:solidFill>
                  <a:srgbClr val="222222"/>
                </a:solidFill>
                <a:latin typeface="proxima nova"/>
              </a:rPr>
              <a:t> </a:t>
            </a:r>
          </a:p>
          <a:p>
            <a:r>
              <a:rPr lang="en-GB" sz="1000" dirty="0">
                <a:solidFill>
                  <a:srgbClr val="222222"/>
                </a:solidFill>
                <a:latin typeface="proxima nova"/>
              </a:rPr>
              <a:t>The authors present a case report of an unusual pressure ulcer developing on bridge of the nose due to the prolonged application of an NIV facial mask.</a:t>
            </a: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19550212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7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yaire Brand Refresh Jan 2021_v04">
  <a:themeElements>
    <a:clrScheme name="Vyaire 3">
      <a:dk1>
        <a:srgbClr val="636569"/>
      </a:dk1>
      <a:lt1>
        <a:srgbClr val="FFFFFF"/>
      </a:lt1>
      <a:dk2>
        <a:srgbClr val="A7A9AC"/>
      </a:dk2>
      <a:lt2>
        <a:srgbClr val="BCBEC0"/>
      </a:lt2>
      <a:accent1>
        <a:srgbClr val="636569"/>
      </a:accent1>
      <a:accent2>
        <a:srgbClr val="EA0029"/>
      </a:accent2>
      <a:accent3>
        <a:srgbClr val="2C2B94"/>
      </a:accent3>
      <a:accent4>
        <a:srgbClr val="A7A9AC"/>
      </a:accent4>
      <a:accent5>
        <a:srgbClr val="982324"/>
      </a:accent5>
      <a:accent6>
        <a:srgbClr val="130F32"/>
      </a:accent6>
      <a:hlink>
        <a:srgbClr val="F1F2F2"/>
      </a:hlink>
      <a:folHlink>
        <a:srgbClr val="00000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8A3DFAD9DCCB842953F0B752C4CE34E" ma:contentTypeVersion="17" ma:contentTypeDescription="Create a new document." ma:contentTypeScope="" ma:versionID="e718673be03904d696a11ea5fe0b7fc0">
  <xsd:schema xmlns:xsd="http://www.w3.org/2001/XMLSchema" xmlns:xs="http://www.w3.org/2001/XMLSchema" xmlns:p="http://schemas.microsoft.com/office/2006/metadata/properties" xmlns:ns2="fd5f3e6c-2f94-41d7-b55f-4927ef2c0944" xmlns:ns3="68f8c6bd-a245-4772-bd04-9cb0ea778d58" targetNamespace="http://schemas.microsoft.com/office/2006/metadata/properties" ma:root="true" ma:fieldsID="b7ecd00d0a1bc61438f0336cecfcbdf6" ns2:_="" ns3:_="">
    <xsd:import namespace="fd5f3e6c-2f94-41d7-b55f-4927ef2c0944"/>
    <xsd:import namespace="68f8c6bd-a245-4772-bd04-9cb0ea778d5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5f3e6c-2f94-41d7-b55f-4927ef2c094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1f695457-af38-45a9-a364-21653ddfbd0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f8c6bd-a245-4772-bd04-9cb0ea778d5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c088a440-2704-43b8-bc54-7cd0c02c391e}" ma:internalName="TaxCatchAll" ma:showField="CatchAllData" ma:web="68f8c6bd-a245-4772-bd04-9cb0ea778d5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fd5f3e6c-2f94-41d7-b55f-4927ef2c0944">
      <Terms xmlns="http://schemas.microsoft.com/office/infopath/2007/PartnerControls"/>
    </lcf76f155ced4ddcb4097134ff3c332f>
    <TaxCatchAll xmlns="68f8c6bd-a245-4772-bd04-9cb0ea778d58" xsi:nil="true"/>
  </documentManagement>
</p:properties>
</file>

<file path=customXml/itemProps1.xml><?xml version="1.0" encoding="utf-8"?>
<ds:datastoreItem xmlns:ds="http://schemas.openxmlformats.org/officeDocument/2006/customXml" ds:itemID="{EA861582-24C2-4885-AC5A-67B3B16FB91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335140A-186B-4E57-BF45-C3D72B5E3DD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d5f3e6c-2f94-41d7-b55f-4927ef2c0944"/>
    <ds:schemaRef ds:uri="68f8c6bd-a245-4772-bd04-9cb0ea778d5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368780C-3B24-454C-BA4F-419F269BA146}">
  <ds:schemaRefs>
    <ds:schemaRef ds:uri="http://schemas.openxmlformats.org/package/2006/metadata/core-properties"/>
    <ds:schemaRef ds:uri="http://purl.org/dc/terms/"/>
    <ds:schemaRef ds:uri="http://schemas.microsoft.com/office/infopath/2007/PartnerControls"/>
    <ds:schemaRef ds:uri="b38a8c8b-b971-44c2-9f52-26f13868d136"/>
    <ds:schemaRef ds:uri="http://schemas.microsoft.com/office/2006/documentManagement/types"/>
    <ds:schemaRef ds:uri="bef8fc01-811e-4036-8b15-4a4f0c1cf6c6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  <ds:schemaRef ds:uri="fd5f3e6c-2f94-41d7-b55f-4927ef2c0944"/>
    <ds:schemaRef ds:uri="68f8c6bd-a245-4772-bd04-9cb0ea778d58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</TotalTime>
  <Words>1790</Words>
  <Application>Microsoft Office PowerPoint</Application>
  <PresentationFormat>Widescreen</PresentationFormat>
  <Paragraphs>328</Paragraphs>
  <Slides>37</Slides>
  <Notes>13</Notes>
  <HiddenSlides>8</HiddenSlides>
  <MMClips>1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37</vt:i4>
      </vt:variant>
    </vt:vector>
  </HeadingPairs>
  <TitlesOfParts>
    <vt:vector size="38" baseType="lpstr">
      <vt:lpstr>Vyaire Brand Refresh Jan 2021_v04</vt:lpstr>
      <vt:lpstr>NIV  </vt:lpstr>
      <vt:lpstr>PowerPoint Presentation</vt:lpstr>
      <vt:lpstr>PowerPoint Presentation</vt:lpstr>
      <vt:lpstr>What is a NIV Mask?</vt:lpstr>
      <vt:lpstr>How does a NIV mask work?</vt:lpstr>
      <vt:lpstr>Why should a patient have a NIV mask?</vt:lpstr>
      <vt:lpstr>How to decide when a patient needs a NIV mask?</vt:lpstr>
      <vt:lpstr>What happens during NIV?</vt:lpstr>
      <vt:lpstr>What problems are associated with NIV masks?</vt:lpstr>
      <vt:lpstr>What hospital depts use NIV masks? </vt:lpstr>
      <vt:lpstr>Stakeholders</vt:lpstr>
      <vt:lpstr>What types of patients require a NIV mask?</vt:lpstr>
      <vt:lpstr>What types of patients don’t require a NIV mask?</vt:lpstr>
      <vt:lpstr>What are the benefits of using NIV to the NHS?</vt:lpstr>
      <vt:lpstr>Vyaire NIV Masks</vt:lpstr>
      <vt:lpstr>Features of the Vyaire NIV Mask</vt:lpstr>
      <vt:lpstr>External frame</vt:lpstr>
      <vt:lpstr>Flexible elbow</vt:lpstr>
      <vt:lpstr>Large soft adjustable forehead pad</vt:lpstr>
      <vt:lpstr>Soft seal</vt:lpstr>
      <vt:lpstr>Four point head gear</vt:lpstr>
      <vt:lpstr>Quick clip</vt:lpstr>
      <vt:lpstr>No DEHP</vt:lpstr>
      <vt:lpstr>NIV Mask Decision Tree</vt:lpstr>
      <vt:lpstr>Which NIV mask to use?</vt:lpstr>
      <vt:lpstr>Part numbers</vt:lpstr>
      <vt:lpstr>Competitors</vt:lpstr>
      <vt:lpstr>Philips Respironics - PerformaTrak </vt:lpstr>
      <vt:lpstr>ResMed - AcuCare</vt:lpstr>
      <vt:lpstr>F&amp;P FreeMotion</vt:lpstr>
      <vt:lpstr>F&amp;P Nivaro</vt:lpstr>
      <vt:lpstr>Intersurgical Face Fit</vt:lpstr>
      <vt:lpstr>Intersurgical Vari Fit</vt:lpstr>
      <vt:lpstr>Tool box</vt:lpstr>
      <vt:lpstr>PowerPoint Presentation</vt:lpstr>
      <vt:lpstr>Price</vt:lpstr>
      <vt:lpstr>Quest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IV NOVATION </dc:title>
  <dc:creator>Pattie-Belleli, Holly</dc:creator>
  <cp:lastModifiedBy>Pattie-Belleli, Holly</cp:lastModifiedBy>
  <cp:revision>9</cp:revision>
  <dcterms:created xsi:type="dcterms:W3CDTF">2022-08-02T12:02:48Z</dcterms:created>
  <dcterms:modified xsi:type="dcterms:W3CDTF">2023-10-27T11:18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8A3DFAD9DCCB842953F0B752C4CE34E</vt:lpwstr>
  </property>
  <property fmtid="{D5CDD505-2E9C-101B-9397-08002B2CF9AE}" pid="3" name="MediaServiceImageTags">
    <vt:lpwstr/>
  </property>
</Properties>
</file>